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18" r:id="rId5"/>
    <p:sldMasterId id="2147483730" r:id="rId6"/>
  </p:sldMasterIdLst>
  <p:notesMasterIdLst>
    <p:notesMasterId r:id="rId24"/>
  </p:notesMasterIdLst>
  <p:sldIdLst>
    <p:sldId id="1650760093" r:id="rId7"/>
    <p:sldId id="1650760095" r:id="rId8"/>
    <p:sldId id="1650760105" r:id="rId9"/>
    <p:sldId id="1650760098" r:id="rId10"/>
    <p:sldId id="1650760102" r:id="rId11"/>
    <p:sldId id="1650760104" r:id="rId12"/>
    <p:sldId id="1650760101" r:id="rId13"/>
    <p:sldId id="1650760132" r:id="rId14"/>
    <p:sldId id="1013" r:id="rId15"/>
    <p:sldId id="1650760118" r:id="rId16"/>
    <p:sldId id="1650760122" r:id="rId17"/>
    <p:sldId id="1650760135" r:id="rId18"/>
    <p:sldId id="1650760119" r:id="rId19"/>
    <p:sldId id="1650760134" r:id="rId20"/>
    <p:sldId id="1650760136" r:id="rId21"/>
    <p:sldId id="1650760137" r:id="rId22"/>
    <p:sldId id="1650760138"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150"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tkin, Jeff" userId="44579092-696a-4847-9524-566715b09489" providerId="ADAL" clId="{59DDCDD5-4D21-4A3C-B17E-4E47E4052DE6}"/>
    <pc:docChg chg="addSld modSld addMainMaster">
      <pc:chgData name="Pitkin, Jeff" userId="44579092-696a-4847-9524-566715b09489" providerId="ADAL" clId="{59DDCDD5-4D21-4A3C-B17E-4E47E4052DE6}" dt="2023-04-17T19:27:50.488" v="5"/>
      <pc:docMkLst>
        <pc:docMk/>
      </pc:docMkLst>
      <pc:sldChg chg="add">
        <pc:chgData name="Pitkin, Jeff" userId="44579092-696a-4847-9524-566715b09489" providerId="ADAL" clId="{59DDCDD5-4D21-4A3C-B17E-4E47E4052DE6}" dt="2023-04-17T19:27:16.437" v="1"/>
        <pc:sldMkLst>
          <pc:docMk/>
          <pc:sldMk cId="1025937544" sldId="1650760136"/>
        </pc:sldMkLst>
      </pc:sldChg>
      <pc:sldChg chg="add">
        <pc:chgData name="Pitkin, Jeff" userId="44579092-696a-4847-9524-566715b09489" providerId="ADAL" clId="{59DDCDD5-4D21-4A3C-B17E-4E47E4052DE6}" dt="2023-04-17T19:27:25.382" v="3"/>
        <pc:sldMkLst>
          <pc:docMk/>
          <pc:sldMk cId="1358992287" sldId="1650760137"/>
        </pc:sldMkLst>
      </pc:sldChg>
      <pc:sldChg chg="add">
        <pc:chgData name="Pitkin, Jeff" userId="44579092-696a-4847-9524-566715b09489" providerId="ADAL" clId="{59DDCDD5-4D21-4A3C-B17E-4E47E4052DE6}" dt="2023-04-17T19:27:50.488" v="5"/>
        <pc:sldMkLst>
          <pc:docMk/>
          <pc:sldMk cId="353867243" sldId="1650760138"/>
        </pc:sldMkLst>
      </pc:sldChg>
      <pc:sldMasterChg chg="add addSldLayout">
        <pc:chgData name="Pitkin, Jeff" userId="44579092-696a-4847-9524-566715b09489" providerId="ADAL" clId="{59DDCDD5-4D21-4A3C-B17E-4E47E4052DE6}" dt="2023-04-17T19:27:16.437" v="0" actId="27028"/>
        <pc:sldMasterMkLst>
          <pc:docMk/>
          <pc:sldMasterMk cId="485239708" sldId="2147483730"/>
        </pc:sldMasterMkLst>
        <pc:sldLayoutChg chg="add">
          <pc:chgData name="Pitkin, Jeff" userId="44579092-696a-4847-9524-566715b09489" providerId="ADAL" clId="{59DDCDD5-4D21-4A3C-B17E-4E47E4052DE6}" dt="2023-04-17T19:27:16.437" v="0" actId="27028"/>
          <pc:sldLayoutMkLst>
            <pc:docMk/>
            <pc:sldMasterMk cId="485239708" sldId="2147483730"/>
            <pc:sldLayoutMk cId="3513255139" sldId="2147483731"/>
          </pc:sldLayoutMkLst>
        </pc:sldLayoutChg>
      </pc:sldMasterChg>
    </pc:docChg>
  </pc:docChgLst>
  <pc:docChgLst>
    <pc:chgData name="Van Tonder, Keith M" userId="db9efdf3-f74e-4bd1-a9d7-af9fa03553e2" providerId="ADAL" clId="{CA2DDE06-79BE-452C-ADE3-608376BC0FD1}"/>
    <pc:docChg chg="custSel delSld modSld sldOrd">
      <pc:chgData name="Van Tonder, Keith M" userId="db9efdf3-f74e-4bd1-a9d7-af9fa03553e2" providerId="ADAL" clId="{CA2DDE06-79BE-452C-ADE3-608376BC0FD1}" dt="2023-04-17T15:46:03.256" v="822" actId="20577"/>
      <pc:docMkLst>
        <pc:docMk/>
      </pc:docMkLst>
      <pc:sldChg chg="del">
        <pc:chgData name="Van Tonder, Keith M" userId="db9efdf3-f74e-4bd1-a9d7-af9fa03553e2" providerId="ADAL" clId="{CA2DDE06-79BE-452C-ADE3-608376BC0FD1}" dt="2023-04-17T11:54:33.525" v="814" actId="47"/>
        <pc:sldMkLst>
          <pc:docMk/>
          <pc:sldMk cId="2525315007" sldId="256"/>
        </pc:sldMkLst>
      </pc:sldChg>
      <pc:sldChg chg="del">
        <pc:chgData name="Van Tonder, Keith M" userId="db9efdf3-f74e-4bd1-a9d7-af9fa03553e2" providerId="ADAL" clId="{CA2DDE06-79BE-452C-ADE3-608376BC0FD1}" dt="2023-04-17T11:54:35.672" v="815" actId="47"/>
        <pc:sldMkLst>
          <pc:docMk/>
          <pc:sldMk cId="3022173482" sldId="257"/>
        </pc:sldMkLst>
      </pc:sldChg>
      <pc:sldChg chg="ord">
        <pc:chgData name="Van Tonder, Keith M" userId="db9efdf3-f74e-4bd1-a9d7-af9fa03553e2" providerId="ADAL" clId="{CA2DDE06-79BE-452C-ADE3-608376BC0FD1}" dt="2023-04-17T11:55:05.803" v="818"/>
        <pc:sldMkLst>
          <pc:docMk/>
          <pc:sldMk cId="233528602" sldId="1013"/>
        </pc:sldMkLst>
      </pc:sldChg>
      <pc:sldChg chg="modSp mod">
        <pc:chgData name="Van Tonder, Keith M" userId="db9efdf3-f74e-4bd1-a9d7-af9fa03553e2" providerId="ADAL" clId="{CA2DDE06-79BE-452C-ADE3-608376BC0FD1}" dt="2023-04-17T11:25:29.727" v="7" actId="6549"/>
        <pc:sldMkLst>
          <pc:docMk/>
          <pc:sldMk cId="425220973" sldId="1650760093"/>
        </pc:sldMkLst>
        <pc:spChg chg="mod">
          <ac:chgData name="Van Tonder, Keith M" userId="db9efdf3-f74e-4bd1-a9d7-af9fa03553e2" providerId="ADAL" clId="{CA2DDE06-79BE-452C-ADE3-608376BC0FD1}" dt="2023-04-17T11:25:29.727" v="7" actId="6549"/>
          <ac:spMkLst>
            <pc:docMk/>
            <pc:sldMk cId="425220973" sldId="1650760093"/>
            <ac:spMk id="2" creationId="{00000000-0000-0000-0000-000000000000}"/>
          </ac:spMkLst>
        </pc:spChg>
      </pc:sldChg>
      <pc:sldChg chg="modSp mod">
        <pc:chgData name="Van Tonder, Keith M" userId="db9efdf3-f74e-4bd1-a9d7-af9fa03553e2" providerId="ADAL" clId="{CA2DDE06-79BE-452C-ADE3-608376BC0FD1}" dt="2023-04-17T11:32:04.417" v="458" actId="20577"/>
        <pc:sldMkLst>
          <pc:docMk/>
          <pc:sldMk cId="3050904231" sldId="1650760095"/>
        </pc:sldMkLst>
        <pc:spChg chg="mod">
          <ac:chgData name="Van Tonder, Keith M" userId="db9efdf3-f74e-4bd1-a9d7-af9fa03553e2" providerId="ADAL" clId="{CA2DDE06-79BE-452C-ADE3-608376BC0FD1}" dt="2023-04-17T11:32:04.417" v="458" actId="20577"/>
          <ac:spMkLst>
            <pc:docMk/>
            <pc:sldMk cId="3050904231" sldId="1650760095"/>
            <ac:spMk id="2" creationId="{FB49F2E7-10EF-443E-8D0D-D31FA155CDFB}"/>
          </ac:spMkLst>
        </pc:spChg>
        <pc:spChg chg="mod">
          <ac:chgData name="Van Tonder, Keith M" userId="db9efdf3-f74e-4bd1-a9d7-af9fa03553e2" providerId="ADAL" clId="{CA2DDE06-79BE-452C-ADE3-608376BC0FD1}" dt="2023-04-17T11:26:18.190" v="16" actId="20577"/>
          <ac:spMkLst>
            <pc:docMk/>
            <pc:sldMk cId="3050904231" sldId="1650760095"/>
            <ac:spMk id="8" creationId="{8A2C2694-6C3F-471E-9100-072B2A9269D7}"/>
          </ac:spMkLst>
        </pc:spChg>
      </pc:sldChg>
      <pc:sldChg chg="del">
        <pc:chgData name="Van Tonder, Keith M" userId="db9efdf3-f74e-4bd1-a9d7-af9fa03553e2" providerId="ADAL" clId="{CA2DDE06-79BE-452C-ADE3-608376BC0FD1}" dt="2023-04-17T11:32:11.059" v="459" actId="47"/>
        <pc:sldMkLst>
          <pc:docMk/>
          <pc:sldMk cId="3929240228" sldId="1650760097"/>
        </pc:sldMkLst>
      </pc:sldChg>
      <pc:sldChg chg="delSp modSp mod">
        <pc:chgData name="Van Tonder, Keith M" userId="db9efdf3-f74e-4bd1-a9d7-af9fa03553e2" providerId="ADAL" clId="{CA2DDE06-79BE-452C-ADE3-608376BC0FD1}" dt="2023-04-17T11:47:56.316" v="706" actId="6549"/>
        <pc:sldMkLst>
          <pc:docMk/>
          <pc:sldMk cId="960388137" sldId="1650760098"/>
        </pc:sldMkLst>
        <pc:spChg chg="del">
          <ac:chgData name="Van Tonder, Keith M" userId="db9efdf3-f74e-4bd1-a9d7-af9fa03553e2" providerId="ADAL" clId="{CA2DDE06-79BE-452C-ADE3-608376BC0FD1}" dt="2023-04-17T11:46:05.236" v="669" actId="478"/>
          <ac:spMkLst>
            <pc:docMk/>
            <pc:sldMk cId="960388137" sldId="1650760098"/>
            <ac:spMk id="3" creationId="{D6FA78B5-7920-41C3-8470-0B316AF2EC51}"/>
          </ac:spMkLst>
        </pc:spChg>
        <pc:spChg chg="mod">
          <ac:chgData name="Van Tonder, Keith M" userId="db9efdf3-f74e-4bd1-a9d7-af9fa03553e2" providerId="ADAL" clId="{CA2DDE06-79BE-452C-ADE3-608376BC0FD1}" dt="2023-04-17T11:47:56.316" v="706" actId="6549"/>
          <ac:spMkLst>
            <pc:docMk/>
            <pc:sldMk cId="960388137" sldId="1650760098"/>
            <ac:spMk id="6" creationId="{C5B5E9A6-487A-42B3-B3A7-7C9A2525EAB7}"/>
          </ac:spMkLst>
        </pc:spChg>
        <pc:spChg chg="mod">
          <ac:chgData name="Van Tonder, Keith M" userId="db9efdf3-f74e-4bd1-a9d7-af9fa03553e2" providerId="ADAL" clId="{CA2DDE06-79BE-452C-ADE3-608376BC0FD1}" dt="2023-04-17T11:45:27.249" v="668" actId="20577"/>
          <ac:spMkLst>
            <pc:docMk/>
            <pc:sldMk cId="960388137" sldId="1650760098"/>
            <ac:spMk id="8" creationId="{8A2C2694-6C3F-471E-9100-072B2A9269D7}"/>
          </ac:spMkLst>
        </pc:spChg>
        <pc:graphicFrameChg chg="modGraphic">
          <ac:chgData name="Van Tonder, Keith M" userId="db9efdf3-f74e-4bd1-a9d7-af9fa03553e2" providerId="ADAL" clId="{CA2DDE06-79BE-452C-ADE3-608376BC0FD1}" dt="2023-04-17T11:47:18.889" v="705" actId="20577"/>
          <ac:graphicFrameMkLst>
            <pc:docMk/>
            <pc:sldMk cId="960388137" sldId="1650760098"/>
            <ac:graphicFrameMk id="4" creationId="{AB25CB89-81C3-4B46-BE7A-A33AD595F71D}"/>
          </ac:graphicFrameMkLst>
        </pc:graphicFrameChg>
      </pc:sldChg>
      <pc:sldChg chg="del">
        <pc:chgData name="Van Tonder, Keith M" userId="db9efdf3-f74e-4bd1-a9d7-af9fa03553e2" providerId="ADAL" clId="{CA2DDE06-79BE-452C-ADE3-608376BC0FD1}" dt="2023-04-17T11:52:58.697" v="789" actId="47"/>
        <pc:sldMkLst>
          <pc:docMk/>
          <pc:sldMk cId="130539903" sldId="1650760100"/>
        </pc:sldMkLst>
      </pc:sldChg>
      <pc:sldChg chg="delSp modSp mod">
        <pc:chgData name="Van Tonder, Keith M" userId="db9efdf3-f74e-4bd1-a9d7-af9fa03553e2" providerId="ADAL" clId="{CA2DDE06-79BE-452C-ADE3-608376BC0FD1}" dt="2023-04-17T11:53:14.692" v="796" actId="478"/>
        <pc:sldMkLst>
          <pc:docMk/>
          <pc:sldMk cId="1656382069" sldId="1650760101"/>
        </pc:sldMkLst>
        <pc:spChg chg="mod">
          <ac:chgData name="Van Tonder, Keith M" userId="db9efdf3-f74e-4bd1-a9d7-af9fa03553e2" providerId="ADAL" clId="{CA2DDE06-79BE-452C-ADE3-608376BC0FD1}" dt="2023-04-17T11:53:07.906" v="795" actId="20577"/>
          <ac:spMkLst>
            <pc:docMk/>
            <pc:sldMk cId="1656382069" sldId="1650760101"/>
            <ac:spMk id="8" creationId="{8A2C2694-6C3F-471E-9100-072B2A9269D7}"/>
          </ac:spMkLst>
        </pc:spChg>
        <pc:graphicFrameChg chg="del">
          <ac:chgData name="Van Tonder, Keith M" userId="db9efdf3-f74e-4bd1-a9d7-af9fa03553e2" providerId="ADAL" clId="{CA2DDE06-79BE-452C-ADE3-608376BC0FD1}" dt="2023-04-17T11:53:14.692" v="796" actId="478"/>
          <ac:graphicFrameMkLst>
            <pc:docMk/>
            <pc:sldMk cId="1656382069" sldId="1650760101"/>
            <ac:graphicFrameMk id="4" creationId="{AB25CB89-81C3-4B46-BE7A-A33AD595F71D}"/>
          </ac:graphicFrameMkLst>
        </pc:graphicFrameChg>
      </pc:sldChg>
      <pc:sldChg chg="modSp mod">
        <pc:chgData name="Van Tonder, Keith M" userId="db9efdf3-f74e-4bd1-a9d7-af9fa03553e2" providerId="ADAL" clId="{CA2DDE06-79BE-452C-ADE3-608376BC0FD1}" dt="2023-04-17T15:46:03.256" v="822" actId="20577"/>
        <pc:sldMkLst>
          <pc:docMk/>
          <pc:sldMk cId="2216035786" sldId="1650760102"/>
        </pc:sldMkLst>
        <pc:spChg chg="mod">
          <ac:chgData name="Van Tonder, Keith M" userId="db9efdf3-f74e-4bd1-a9d7-af9fa03553e2" providerId="ADAL" clId="{CA2DDE06-79BE-452C-ADE3-608376BC0FD1}" dt="2023-04-17T11:48:20.874" v="712" actId="20577"/>
          <ac:spMkLst>
            <pc:docMk/>
            <pc:sldMk cId="2216035786" sldId="1650760102"/>
            <ac:spMk id="8" creationId="{8A2C2694-6C3F-471E-9100-072B2A9269D7}"/>
          </ac:spMkLst>
        </pc:spChg>
        <pc:graphicFrameChg chg="modGraphic">
          <ac:chgData name="Van Tonder, Keith M" userId="db9efdf3-f74e-4bd1-a9d7-af9fa03553e2" providerId="ADAL" clId="{CA2DDE06-79BE-452C-ADE3-608376BC0FD1}" dt="2023-04-17T15:46:03.256" v="822" actId="20577"/>
          <ac:graphicFrameMkLst>
            <pc:docMk/>
            <pc:sldMk cId="2216035786" sldId="1650760102"/>
            <ac:graphicFrameMk id="4" creationId="{AB25CB89-81C3-4B46-BE7A-A33AD595F71D}"/>
          </ac:graphicFrameMkLst>
        </pc:graphicFrameChg>
      </pc:sldChg>
      <pc:sldChg chg="del">
        <pc:chgData name="Van Tonder, Keith M" userId="db9efdf3-f74e-4bd1-a9d7-af9fa03553e2" providerId="ADAL" clId="{CA2DDE06-79BE-452C-ADE3-608376BC0FD1}" dt="2023-04-17T11:53:18.417" v="797" actId="47"/>
        <pc:sldMkLst>
          <pc:docMk/>
          <pc:sldMk cId="850639845" sldId="1650760103"/>
        </pc:sldMkLst>
      </pc:sldChg>
      <pc:sldChg chg="modSp mod">
        <pc:chgData name="Van Tonder, Keith M" userId="db9efdf3-f74e-4bd1-a9d7-af9fa03553e2" providerId="ADAL" clId="{CA2DDE06-79BE-452C-ADE3-608376BC0FD1}" dt="2023-04-17T11:52:29.147" v="788" actId="20577"/>
        <pc:sldMkLst>
          <pc:docMk/>
          <pc:sldMk cId="486104633" sldId="1650760104"/>
        </pc:sldMkLst>
        <pc:spChg chg="mod">
          <ac:chgData name="Van Tonder, Keith M" userId="db9efdf3-f74e-4bd1-a9d7-af9fa03553e2" providerId="ADAL" clId="{CA2DDE06-79BE-452C-ADE3-608376BC0FD1}" dt="2023-04-17T11:52:18.579" v="782" actId="20577"/>
          <ac:spMkLst>
            <pc:docMk/>
            <pc:sldMk cId="486104633" sldId="1650760104"/>
            <ac:spMk id="5" creationId="{E148467A-7282-4913-8086-9B046BF8A752}"/>
          </ac:spMkLst>
        </pc:spChg>
        <pc:spChg chg="mod">
          <ac:chgData name="Van Tonder, Keith M" userId="db9efdf3-f74e-4bd1-a9d7-af9fa03553e2" providerId="ADAL" clId="{CA2DDE06-79BE-452C-ADE3-608376BC0FD1}" dt="2023-04-17T11:52:29.147" v="788" actId="20577"/>
          <ac:spMkLst>
            <pc:docMk/>
            <pc:sldMk cId="486104633" sldId="1650760104"/>
            <ac:spMk id="8" creationId="{8A2C2694-6C3F-471E-9100-072B2A9269D7}"/>
          </ac:spMkLst>
        </pc:spChg>
        <pc:graphicFrameChg chg="modGraphic">
          <ac:chgData name="Van Tonder, Keith M" userId="db9efdf3-f74e-4bd1-a9d7-af9fa03553e2" providerId="ADAL" clId="{CA2DDE06-79BE-452C-ADE3-608376BC0FD1}" dt="2023-04-17T11:52:01.382" v="767" actId="20577"/>
          <ac:graphicFrameMkLst>
            <pc:docMk/>
            <pc:sldMk cId="486104633" sldId="1650760104"/>
            <ac:graphicFrameMk id="4" creationId="{AB25CB89-81C3-4B46-BE7A-A33AD595F71D}"/>
          </ac:graphicFrameMkLst>
        </pc:graphicFrameChg>
      </pc:sldChg>
      <pc:sldChg chg="modSp mod">
        <pc:chgData name="Van Tonder, Keith M" userId="db9efdf3-f74e-4bd1-a9d7-af9fa03553e2" providerId="ADAL" clId="{CA2DDE06-79BE-452C-ADE3-608376BC0FD1}" dt="2023-04-17T11:36:31.429" v="662" actId="1076"/>
        <pc:sldMkLst>
          <pc:docMk/>
          <pc:sldMk cId="149164539" sldId="1650760105"/>
        </pc:sldMkLst>
        <pc:spChg chg="mod">
          <ac:chgData name="Van Tonder, Keith M" userId="db9efdf3-f74e-4bd1-a9d7-af9fa03553e2" providerId="ADAL" clId="{CA2DDE06-79BE-452C-ADE3-608376BC0FD1}" dt="2023-04-17T11:32:50.532" v="483" actId="20577"/>
          <ac:spMkLst>
            <pc:docMk/>
            <pc:sldMk cId="149164539" sldId="1650760105"/>
            <ac:spMk id="2" creationId="{FB49F2E7-10EF-443E-8D0D-D31FA155CDFB}"/>
          </ac:spMkLst>
        </pc:spChg>
        <pc:spChg chg="mod">
          <ac:chgData name="Van Tonder, Keith M" userId="db9efdf3-f74e-4bd1-a9d7-af9fa03553e2" providerId="ADAL" clId="{CA2DDE06-79BE-452C-ADE3-608376BC0FD1}" dt="2023-04-17T11:36:31.429" v="662" actId="1076"/>
          <ac:spMkLst>
            <pc:docMk/>
            <pc:sldMk cId="149164539" sldId="1650760105"/>
            <ac:spMk id="3" creationId="{67E7E529-ADB5-4229-AE84-74C4593B4828}"/>
          </ac:spMkLst>
        </pc:spChg>
        <pc:spChg chg="mod">
          <ac:chgData name="Van Tonder, Keith M" userId="db9efdf3-f74e-4bd1-a9d7-af9fa03553e2" providerId="ADAL" clId="{CA2DDE06-79BE-452C-ADE3-608376BC0FD1}" dt="2023-04-17T11:32:30.137" v="465" actId="20577"/>
          <ac:spMkLst>
            <pc:docMk/>
            <pc:sldMk cId="149164539" sldId="1650760105"/>
            <ac:spMk id="8" creationId="{8A2C2694-6C3F-471E-9100-072B2A9269D7}"/>
          </ac:spMkLst>
        </pc:spChg>
      </pc:sldChg>
      <pc:sldChg chg="del">
        <pc:chgData name="Van Tonder, Keith M" userId="db9efdf3-f74e-4bd1-a9d7-af9fa03553e2" providerId="ADAL" clId="{CA2DDE06-79BE-452C-ADE3-608376BC0FD1}" dt="2023-04-17T11:53:58.760" v="800" actId="47"/>
        <pc:sldMkLst>
          <pc:docMk/>
          <pc:sldMk cId="3878505913" sldId="1650760107"/>
        </pc:sldMkLst>
      </pc:sldChg>
      <pc:sldChg chg="del">
        <pc:chgData name="Van Tonder, Keith M" userId="db9efdf3-f74e-4bd1-a9d7-af9fa03553e2" providerId="ADAL" clId="{CA2DDE06-79BE-452C-ADE3-608376BC0FD1}" dt="2023-04-17T11:25:48.378" v="8" actId="47"/>
        <pc:sldMkLst>
          <pc:docMk/>
          <pc:sldMk cId="2794208557" sldId="1650760113"/>
        </pc:sldMkLst>
      </pc:sldChg>
      <pc:sldChg chg="del">
        <pc:chgData name="Van Tonder, Keith M" userId="db9efdf3-f74e-4bd1-a9d7-af9fa03553e2" providerId="ADAL" clId="{CA2DDE06-79BE-452C-ADE3-608376BC0FD1}" dt="2023-04-17T11:53:37.158" v="798" actId="47"/>
        <pc:sldMkLst>
          <pc:docMk/>
          <pc:sldMk cId="1295251788" sldId="1650760115"/>
        </pc:sldMkLst>
      </pc:sldChg>
      <pc:sldChg chg="del">
        <pc:chgData name="Van Tonder, Keith M" userId="db9efdf3-f74e-4bd1-a9d7-af9fa03553e2" providerId="ADAL" clId="{CA2DDE06-79BE-452C-ADE3-608376BC0FD1}" dt="2023-04-17T11:54:01.926" v="803" actId="47"/>
        <pc:sldMkLst>
          <pc:docMk/>
          <pc:sldMk cId="965161266" sldId="1650760116"/>
        </pc:sldMkLst>
      </pc:sldChg>
      <pc:sldChg chg="del">
        <pc:chgData name="Van Tonder, Keith M" userId="db9efdf3-f74e-4bd1-a9d7-af9fa03553e2" providerId="ADAL" clId="{CA2DDE06-79BE-452C-ADE3-608376BC0FD1}" dt="2023-04-17T11:25:59.061" v="9" actId="47"/>
        <pc:sldMkLst>
          <pc:docMk/>
          <pc:sldMk cId="2155041865" sldId="1650760117"/>
        </pc:sldMkLst>
      </pc:sldChg>
      <pc:sldChg chg="ord">
        <pc:chgData name="Van Tonder, Keith M" userId="db9efdf3-f74e-4bd1-a9d7-af9fa03553e2" providerId="ADAL" clId="{CA2DDE06-79BE-452C-ADE3-608376BC0FD1}" dt="2023-04-17T11:55:05.803" v="818"/>
        <pc:sldMkLst>
          <pc:docMk/>
          <pc:sldMk cId="3521855989" sldId="1650760118"/>
        </pc:sldMkLst>
      </pc:sldChg>
      <pc:sldChg chg="ord">
        <pc:chgData name="Van Tonder, Keith M" userId="db9efdf3-f74e-4bd1-a9d7-af9fa03553e2" providerId="ADAL" clId="{CA2DDE06-79BE-452C-ADE3-608376BC0FD1}" dt="2023-04-17T11:55:05.803" v="818"/>
        <pc:sldMkLst>
          <pc:docMk/>
          <pc:sldMk cId="807781974" sldId="1650760119"/>
        </pc:sldMkLst>
      </pc:sldChg>
      <pc:sldChg chg="del">
        <pc:chgData name="Van Tonder, Keith M" userId="db9efdf3-f74e-4bd1-a9d7-af9fa03553e2" providerId="ADAL" clId="{CA2DDE06-79BE-452C-ADE3-608376BC0FD1}" dt="2023-04-17T11:54:43.433" v="816" actId="47"/>
        <pc:sldMkLst>
          <pc:docMk/>
          <pc:sldMk cId="3954282015" sldId="1650760120"/>
        </pc:sldMkLst>
      </pc:sldChg>
      <pc:sldChg chg="del">
        <pc:chgData name="Van Tonder, Keith M" userId="db9efdf3-f74e-4bd1-a9d7-af9fa03553e2" providerId="ADAL" clId="{CA2DDE06-79BE-452C-ADE3-608376BC0FD1}" dt="2023-04-17T11:54:43.433" v="816" actId="47"/>
        <pc:sldMkLst>
          <pc:docMk/>
          <pc:sldMk cId="21660322" sldId="1650760121"/>
        </pc:sldMkLst>
      </pc:sldChg>
      <pc:sldChg chg="ord">
        <pc:chgData name="Van Tonder, Keith M" userId="db9efdf3-f74e-4bd1-a9d7-af9fa03553e2" providerId="ADAL" clId="{CA2DDE06-79BE-452C-ADE3-608376BC0FD1}" dt="2023-04-17T11:55:05.803" v="818"/>
        <pc:sldMkLst>
          <pc:docMk/>
          <pc:sldMk cId="3309830134" sldId="1650760122"/>
        </pc:sldMkLst>
      </pc:sldChg>
      <pc:sldChg chg="del">
        <pc:chgData name="Van Tonder, Keith M" userId="db9efdf3-f74e-4bd1-a9d7-af9fa03553e2" providerId="ADAL" clId="{CA2DDE06-79BE-452C-ADE3-608376BC0FD1}" dt="2023-04-17T11:54:00.046" v="801" actId="47"/>
        <pc:sldMkLst>
          <pc:docMk/>
          <pc:sldMk cId="3016701186" sldId="1650760127"/>
        </pc:sldMkLst>
      </pc:sldChg>
      <pc:sldChg chg="del">
        <pc:chgData name="Van Tonder, Keith M" userId="db9efdf3-f74e-4bd1-a9d7-af9fa03553e2" providerId="ADAL" clId="{CA2DDE06-79BE-452C-ADE3-608376BC0FD1}" dt="2023-04-17T11:54:01.077" v="802" actId="47"/>
        <pc:sldMkLst>
          <pc:docMk/>
          <pc:sldMk cId="115834427" sldId="1650760128"/>
        </pc:sldMkLst>
      </pc:sldChg>
      <pc:sldChg chg="del">
        <pc:chgData name="Van Tonder, Keith M" userId="db9efdf3-f74e-4bd1-a9d7-af9fa03553e2" providerId="ADAL" clId="{CA2DDE06-79BE-452C-ADE3-608376BC0FD1}" dt="2023-04-17T11:53:42.695" v="799" actId="47"/>
        <pc:sldMkLst>
          <pc:docMk/>
          <pc:sldMk cId="3732915029" sldId="1650760129"/>
        </pc:sldMkLst>
      </pc:sldChg>
      <pc:sldChg chg="del">
        <pc:chgData name="Van Tonder, Keith M" userId="db9efdf3-f74e-4bd1-a9d7-af9fa03553e2" providerId="ADAL" clId="{CA2DDE06-79BE-452C-ADE3-608376BC0FD1}" dt="2023-04-17T11:54:43.433" v="816" actId="47"/>
        <pc:sldMkLst>
          <pc:docMk/>
          <pc:sldMk cId="2751233099" sldId="1650760130"/>
        </pc:sldMkLst>
      </pc:sldChg>
      <pc:sldChg chg="del">
        <pc:chgData name="Van Tonder, Keith M" userId="db9efdf3-f74e-4bd1-a9d7-af9fa03553e2" providerId="ADAL" clId="{CA2DDE06-79BE-452C-ADE3-608376BC0FD1}" dt="2023-04-17T11:53:37.158" v="798" actId="47"/>
        <pc:sldMkLst>
          <pc:docMk/>
          <pc:sldMk cId="2124839545" sldId="1650760131"/>
        </pc:sldMkLst>
      </pc:sldChg>
      <pc:sldChg chg="delSp modSp mod">
        <pc:chgData name="Van Tonder, Keith M" userId="db9efdf3-f74e-4bd1-a9d7-af9fa03553e2" providerId="ADAL" clId="{CA2DDE06-79BE-452C-ADE3-608376BC0FD1}" dt="2023-04-17T11:54:20.686" v="812" actId="478"/>
        <pc:sldMkLst>
          <pc:docMk/>
          <pc:sldMk cId="314923583" sldId="1650760132"/>
        </pc:sldMkLst>
        <pc:spChg chg="mod">
          <ac:chgData name="Van Tonder, Keith M" userId="db9efdf3-f74e-4bd1-a9d7-af9fa03553e2" providerId="ADAL" clId="{CA2DDE06-79BE-452C-ADE3-608376BC0FD1}" dt="2023-04-17T11:54:15.965" v="811" actId="20577"/>
          <ac:spMkLst>
            <pc:docMk/>
            <pc:sldMk cId="314923583" sldId="1650760132"/>
            <ac:spMk id="2" creationId="{169BB4BE-E060-4752-9437-FDBE869BB7F3}"/>
          </ac:spMkLst>
        </pc:spChg>
        <pc:spChg chg="del">
          <ac:chgData name="Van Tonder, Keith M" userId="db9efdf3-f74e-4bd1-a9d7-af9fa03553e2" providerId="ADAL" clId="{CA2DDE06-79BE-452C-ADE3-608376BC0FD1}" dt="2023-04-17T11:54:20.686" v="812" actId="478"/>
          <ac:spMkLst>
            <pc:docMk/>
            <pc:sldMk cId="314923583" sldId="1650760132"/>
            <ac:spMk id="3" creationId="{65295BFE-BB7E-40F2-A979-E26885B26C60}"/>
          </ac:spMkLst>
        </pc:spChg>
      </pc:sldChg>
      <pc:sldChg chg="del">
        <pc:chgData name="Van Tonder, Keith M" userId="db9efdf3-f74e-4bd1-a9d7-af9fa03553e2" providerId="ADAL" clId="{CA2DDE06-79BE-452C-ADE3-608376BC0FD1}" dt="2023-04-17T11:53:37.158" v="798" actId="47"/>
        <pc:sldMkLst>
          <pc:docMk/>
          <pc:sldMk cId="682016221" sldId="1650760133"/>
        </pc:sldMkLst>
      </pc:sldChg>
      <pc:sldChg chg="ord">
        <pc:chgData name="Van Tonder, Keith M" userId="db9efdf3-f74e-4bd1-a9d7-af9fa03553e2" providerId="ADAL" clId="{CA2DDE06-79BE-452C-ADE3-608376BC0FD1}" dt="2023-04-17T11:55:05.803" v="818"/>
        <pc:sldMkLst>
          <pc:docMk/>
          <pc:sldMk cId="1255728024" sldId="1650760134"/>
        </pc:sldMkLst>
      </pc:sldChg>
      <pc:sldChg chg="ord">
        <pc:chgData name="Van Tonder, Keith M" userId="db9efdf3-f74e-4bd1-a9d7-af9fa03553e2" providerId="ADAL" clId="{CA2DDE06-79BE-452C-ADE3-608376BC0FD1}" dt="2023-04-17T11:55:05.803" v="818"/>
        <pc:sldMkLst>
          <pc:docMk/>
          <pc:sldMk cId="3773941885" sldId="1650760135"/>
        </pc:sldMkLst>
      </pc:sldChg>
      <pc:sldChg chg="del">
        <pc:chgData name="Van Tonder, Keith M" userId="db9efdf3-f74e-4bd1-a9d7-af9fa03553e2" providerId="ADAL" clId="{CA2DDE06-79BE-452C-ADE3-608376BC0FD1}" dt="2023-04-17T11:54:31.087" v="813" actId="47"/>
        <pc:sldMkLst>
          <pc:docMk/>
          <pc:sldMk cId="3406679374" sldId="1650760136"/>
        </pc:sldMkLst>
      </pc:sldChg>
      <pc:sldChg chg="del">
        <pc:chgData name="Van Tonder, Keith M" userId="db9efdf3-f74e-4bd1-a9d7-af9fa03553e2" providerId="ADAL" clId="{CA2DDE06-79BE-452C-ADE3-608376BC0FD1}" dt="2023-04-17T11:53:37.158" v="798" actId="47"/>
        <pc:sldMkLst>
          <pc:docMk/>
          <pc:sldMk cId="2313423922" sldId="1650760137"/>
        </pc:sldMkLst>
      </pc:sldChg>
      <pc:sldMasterChg chg="delSldLayout">
        <pc:chgData name="Van Tonder, Keith M" userId="db9efdf3-f74e-4bd1-a9d7-af9fa03553e2" providerId="ADAL" clId="{CA2DDE06-79BE-452C-ADE3-608376BC0FD1}" dt="2023-04-17T11:25:59.061" v="9" actId="47"/>
        <pc:sldMasterMkLst>
          <pc:docMk/>
          <pc:sldMasterMk cId="1152965824" sldId="2147483718"/>
        </pc:sldMasterMkLst>
        <pc:sldLayoutChg chg="del">
          <pc:chgData name="Van Tonder, Keith M" userId="db9efdf3-f74e-4bd1-a9d7-af9fa03553e2" providerId="ADAL" clId="{CA2DDE06-79BE-452C-ADE3-608376BC0FD1}" dt="2023-04-17T11:25:59.061" v="9" actId="47"/>
          <pc:sldLayoutMkLst>
            <pc:docMk/>
            <pc:sldMasterMk cId="1152965824" sldId="2147483718"/>
            <pc:sldLayoutMk cId="2875809346" sldId="214748372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FEDCE0-F159-4918-926C-4D9E4E5E3079}" type="datetimeFigureOut">
              <a:rPr lang="en-US" smtClean="0"/>
              <a:t>4/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14C556-DAB7-4534-9AE2-6DE84F90E458}" type="slidenum">
              <a:rPr lang="en-US" smtClean="0"/>
              <a:t>‹#›</a:t>
            </a:fld>
            <a:endParaRPr lang="en-US"/>
          </a:p>
        </p:txBody>
      </p:sp>
    </p:spTree>
    <p:extLst>
      <p:ext uri="{BB962C8B-B14F-4D97-AF65-F5344CB8AC3E}">
        <p14:creationId xmlns:p14="http://schemas.microsoft.com/office/powerpoint/2010/main" val="14337676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Last Page Logo - Contour">
    <p:spTree>
      <p:nvGrpSpPr>
        <p:cNvPr id="1" name=""/>
        <p:cNvGrpSpPr/>
        <p:nvPr/>
      </p:nvGrpSpPr>
      <p:grpSpPr>
        <a:xfrm>
          <a:off x="0" y="0"/>
          <a:ext cx="0" cy="0"/>
          <a:chOff x="0" y="0"/>
          <a:chExt cx="0" cy="0"/>
        </a:xfrm>
        <a:effectLst/>
      </p:grpSpPr>
      <p:pic>
        <p:nvPicPr>
          <p:cNvPr id="3" name="Picture 2">
            <a:extLst>
              <a:ext uri="{FF2B5EF4-FFF2-40B4-BE49-F238E27FC236}">
                <a16:creationId xmlns:a16="http://schemas.microsoft.com/office/drawing/2014/main" id="{CF248BF5-C74A-B94E-9B0A-2B7B72CF94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74027" y="1753783"/>
            <a:ext cx="4272246" cy="2065535"/>
          </a:xfrm>
          <a:prstGeom prst="rect">
            <a:avLst/>
          </a:prstGeom>
        </p:spPr>
      </p:pic>
    </p:spTree>
    <p:extLst>
      <p:ext uri="{BB962C8B-B14F-4D97-AF65-F5344CB8AC3E}">
        <p14:creationId xmlns:p14="http://schemas.microsoft.com/office/powerpoint/2010/main" val="79420278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 Two Logos">
    <p:spTree>
      <p:nvGrpSpPr>
        <p:cNvPr id="1" name=""/>
        <p:cNvGrpSpPr/>
        <p:nvPr/>
      </p:nvGrpSpPr>
      <p:grpSpPr>
        <a:xfrm>
          <a:off x="0" y="0"/>
          <a:ext cx="0" cy="0"/>
          <a:chOff x="0" y="0"/>
          <a:chExt cx="0" cy="0"/>
        </a:xfrm>
        <a:effectLst/>
      </p:grpSpPr>
      <p:sp>
        <p:nvSpPr>
          <p:cNvPr id="2" name="Title 1"/>
          <p:cNvSpPr>
            <a:spLocks noGrp="1"/>
          </p:cNvSpPr>
          <p:nvPr>
            <p:ph type="title"/>
          </p:nvPr>
        </p:nvSpPr>
        <p:spPr>
          <a:effectLst/>
        </p:spPr>
        <p:txBody>
          <a:bodyPr/>
          <a:lstStyle/>
          <a:p>
            <a:r>
              <a:rPr lang="en-US">
                <a:effectLst/>
              </a:rPr>
              <a:t>Click to edit Master title style</a:t>
            </a:r>
            <a:endParaRPr lang="fr-FR">
              <a:effectLst/>
            </a:endParaRPr>
          </a:p>
        </p:txBody>
      </p:sp>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4" y="838376"/>
            <a:ext cx="5550020" cy="5298652"/>
          </a:xfrm>
        </p:spPr>
        <p:txBody>
          <a:bodyPr/>
          <a:lstStyle/>
          <a:p>
            <a:pPr lvl="0"/>
            <a:r>
              <a:rPr lang="en-US"/>
              <a:t>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C3594EDB-29B5-6F47-A2D4-760B419EF2FC}"/>
              </a:ext>
            </a:extLst>
          </p:cNvPr>
          <p:cNvSpPr>
            <a:spLocks noGrp="1"/>
          </p:cNvSpPr>
          <p:nvPr>
            <p:ph type="body" sz="quarter" idx="11"/>
          </p:nvPr>
        </p:nvSpPr>
        <p:spPr>
          <a:xfrm>
            <a:off x="6242955" y="831390"/>
            <a:ext cx="5554150" cy="5305317"/>
          </a:xfrm>
        </p:spPr>
        <p:txBody>
          <a:bodyPr/>
          <a:lstStyle/>
          <a:p>
            <a:pPr lvl="0"/>
            <a:r>
              <a:rPr lang="en-US"/>
              <a:t>Edit Master text styles</a:t>
            </a:r>
          </a:p>
          <a:p>
            <a:pPr lvl="1"/>
            <a:r>
              <a:rPr lang="en-US"/>
              <a:t>Second level</a:t>
            </a:r>
          </a:p>
          <a:p>
            <a:pPr lvl="2"/>
            <a:r>
              <a:rPr lang="en-US"/>
              <a:t>Third level</a:t>
            </a:r>
          </a:p>
        </p:txBody>
      </p:sp>
      <p:pic>
        <p:nvPicPr>
          <p:cNvPr id="8" name="Picture 7">
            <a:extLst>
              <a:ext uri="{FF2B5EF4-FFF2-40B4-BE49-F238E27FC236}">
                <a16:creationId xmlns:a16="http://schemas.microsoft.com/office/drawing/2014/main" id="{F0582CEA-1769-D04D-A033-F68C314945B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169278226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Sub-titles - Two Logos">
    <p:spTree>
      <p:nvGrpSpPr>
        <p:cNvPr id="1" name=""/>
        <p:cNvGrpSpPr/>
        <p:nvPr/>
      </p:nvGrpSpPr>
      <p:grpSpPr>
        <a:xfrm>
          <a:off x="0" y="0"/>
          <a:ext cx="0" cy="0"/>
          <a:chOff x="0" y="0"/>
          <a:chExt cx="0" cy="0"/>
        </a:xfrm>
        <a:effectLst/>
      </p:grpSpPr>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4" y="1336652"/>
            <a:ext cx="5550020" cy="4824135"/>
          </a:xfrm>
        </p:spPr>
        <p:txBody>
          <a:bodyPr/>
          <a:lstStyle/>
          <a:p>
            <a:pPr lvl="0"/>
            <a:r>
              <a:rPr lang="en-US"/>
              <a:t>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C3594EDB-29B5-6F47-A2D4-760B419EF2FC}"/>
              </a:ext>
            </a:extLst>
          </p:cNvPr>
          <p:cNvSpPr>
            <a:spLocks noGrp="1"/>
          </p:cNvSpPr>
          <p:nvPr>
            <p:ph type="body" sz="quarter" idx="11"/>
          </p:nvPr>
        </p:nvSpPr>
        <p:spPr>
          <a:xfrm>
            <a:off x="6242955" y="1330291"/>
            <a:ext cx="5554150" cy="4830202"/>
          </a:xfrm>
        </p:spPr>
        <p:txBody>
          <a:bodyPr/>
          <a:lstStyle/>
          <a:p>
            <a:pPr lvl="0"/>
            <a:r>
              <a:rPr lang="en-US"/>
              <a:t>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3658D0B4-4F0C-624F-AE42-A3AA4BC92542}"/>
              </a:ext>
            </a:extLst>
          </p:cNvPr>
          <p:cNvSpPr>
            <a:spLocks noGrp="1"/>
          </p:cNvSpPr>
          <p:nvPr>
            <p:ph type="body" sz="quarter" idx="12" hasCustomPrompt="1"/>
          </p:nvPr>
        </p:nvSpPr>
        <p:spPr>
          <a:xfrm>
            <a:off x="390376" y="831390"/>
            <a:ext cx="5555657" cy="488350"/>
          </a:xfrm>
        </p:spPr>
        <p:txBody>
          <a:bodyPr/>
          <a:lstStyle>
            <a:lvl1pPr marL="0" indent="0">
              <a:buFont typeface="Arial" panose="020B0604020202020204" pitchFamily="34" charset="0"/>
              <a:buNone/>
              <a:defRPr b="1">
                <a:solidFill>
                  <a:schemeClr val="bg2"/>
                </a:solidFill>
              </a:defRPr>
            </a:lvl1pPr>
          </a:lstStyle>
          <a:p>
            <a:pPr lvl="0"/>
            <a:r>
              <a:rPr lang="en-US"/>
              <a:t>Secondary Title</a:t>
            </a:r>
          </a:p>
        </p:txBody>
      </p:sp>
      <p:sp>
        <p:nvSpPr>
          <p:cNvPr id="9" name="Text Placeholder 8">
            <a:extLst>
              <a:ext uri="{FF2B5EF4-FFF2-40B4-BE49-F238E27FC236}">
                <a16:creationId xmlns:a16="http://schemas.microsoft.com/office/drawing/2014/main" id="{0A4B1A56-3AEB-3B46-B7B6-D3E87C56F22E}"/>
              </a:ext>
            </a:extLst>
          </p:cNvPr>
          <p:cNvSpPr>
            <a:spLocks noGrp="1"/>
          </p:cNvSpPr>
          <p:nvPr>
            <p:ph type="body" sz="quarter" idx="13" hasCustomPrompt="1"/>
          </p:nvPr>
        </p:nvSpPr>
        <p:spPr>
          <a:xfrm>
            <a:off x="6242955" y="831390"/>
            <a:ext cx="5554150" cy="498900"/>
          </a:xfrm>
        </p:spPr>
        <p:txBody>
          <a:bodyPr>
            <a:normAutofit/>
          </a:bodyPr>
          <a:lstStyle>
            <a:lvl1pPr marL="0" indent="0">
              <a:buNone/>
              <a:defRPr kumimoji="0" lang="en-US" altLang="zh-CN" sz="1709" b="1" i="0" u="none" strike="noStrike" kern="1200" cap="none" spc="0" normalizeH="0" baseline="0" noProof="1" dirty="0">
                <a:ln>
                  <a:noFill/>
                </a:ln>
                <a:solidFill>
                  <a:schemeClr val="bg2"/>
                </a:solidFill>
                <a:effectLst/>
                <a:uLnTx/>
                <a:uFillTx/>
                <a:latin typeface="+mn-lt"/>
                <a:ea typeface="+mn-ea"/>
                <a:cs typeface="+mn-cs"/>
              </a:defRPr>
            </a:lvl1pPr>
          </a:lstStyle>
          <a:p>
            <a:pPr marL="257680" marR="0" lvl="0" indent="-257680" algn="l" defTabSz="931262" rtl="0" eaLnBrk="1" fontAlgn="base" latinLnBrk="0" hangingPunct="1">
              <a:lnSpc>
                <a:spcPct val="100000"/>
              </a:lnSpc>
              <a:spcBef>
                <a:spcPct val="40000"/>
              </a:spcBef>
              <a:spcAft>
                <a:spcPct val="0"/>
              </a:spcAft>
              <a:buClr>
                <a:schemeClr val="tx1"/>
              </a:buClr>
              <a:buSzPts val="2400"/>
            </a:pPr>
            <a:r>
              <a:rPr lang="en-US"/>
              <a:t>Secondary title</a:t>
            </a:r>
          </a:p>
        </p:txBody>
      </p:sp>
      <p:sp>
        <p:nvSpPr>
          <p:cNvPr id="3" name="Title 2">
            <a:extLst>
              <a:ext uri="{FF2B5EF4-FFF2-40B4-BE49-F238E27FC236}">
                <a16:creationId xmlns:a16="http://schemas.microsoft.com/office/drawing/2014/main" id="{B8F35DB0-BA15-B342-9407-CAC313E08CC4}"/>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7E35B662-232C-D24B-8ABD-C291D57AAD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30983384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s - Two Logos">
    <p:spTree>
      <p:nvGrpSpPr>
        <p:cNvPr id="1" name=""/>
        <p:cNvGrpSpPr/>
        <p:nvPr/>
      </p:nvGrpSpPr>
      <p:grpSpPr>
        <a:xfrm>
          <a:off x="0" y="0"/>
          <a:ext cx="0" cy="0"/>
          <a:chOff x="0" y="0"/>
          <a:chExt cx="0" cy="0"/>
        </a:xfrm>
        <a:effectLst/>
      </p:grpSpPr>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4" y="1332873"/>
            <a:ext cx="2616880" cy="4797888"/>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3658D0B4-4F0C-624F-AE42-A3AA4BC92542}"/>
              </a:ext>
            </a:extLst>
          </p:cNvPr>
          <p:cNvSpPr>
            <a:spLocks noGrp="1"/>
          </p:cNvSpPr>
          <p:nvPr>
            <p:ph type="body" sz="quarter" idx="12" hasCustomPrompt="1"/>
          </p:nvPr>
        </p:nvSpPr>
        <p:spPr>
          <a:xfrm>
            <a:off x="390374" y="831390"/>
            <a:ext cx="2619538" cy="488350"/>
          </a:xfrm>
        </p:spPr>
        <p:txBody>
          <a:bodyPr/>
          <a:lstStyle>
            <a:lvl1pPr marL="0" indent="0">
              <a:buNone/>
              <a:defRPr b="1">
                <a:solidFill>
                  <a:schemeClr val="bg2"/>
                </a:solidFill>
              </a:defRPr>
            </a:lvl1pPr>
          </a:lstStyle>
          <a:p>
            <a:pPr lvl="0"/>
            <a:r>
              <a:rPr lang="en-US"/>
              <a:t>Secondary Title</a:t>
            </a:r>
          </a:p>
        </p:txBody>
      </p:sp>
      <p:sp>
        <p:nvSpPr>
          <p:cNvPr id="8" name="Text Placeholder 4">
            <a:extLst>
              <a:ext uri="{FF2B5EF4-FFF2-40B4-BE49-F238E27FC236}">
                <a16:creationId xmlns:a16="http://schemas.microsoft.com/office/drawing/2014/main" id="{DAA937D4-BA41-6F45-AE22-87B92385F3ED}"/>
              </a:ext>
            </a:extLst>
          </p:cNvPr>
          <p:cNvSpPr>
            <a:spLocks noGrp="1"/>
          </p:cNvSpPr>
          <p:nvPr>
            <p:ph type="body" sz="quarter" idx="13"/>
          </p:nvPr>
        </p:nvSpPr>
        <p:spPr>
          <a:xfrm>
            <a:off x="3326027" y="1332873"/>
            <a:ext cx="2616880" cy="4797888"/>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10" name="Text Placeholder 6">
            <a:extLst>
              <a:ext uri="{FF2B5EF4-FFF2-40B4-BE49-F238E27FC236}">
                <a16:creationId xmlns:a16="http://schemas.microsoft.com/office/drawing/2014/main" id="{F12B98A5-D8CF-0640-8141-B1DD4AD4C30A}"/>
              </a:ext>
            </a:extLst>
          </p:cNvPr>
          <p:cNvSpPr>
            <a:spLocks noGrp="1"/>
          </p:cNvSpPr>
          <p:nvPr>
            <p:ph type="body" sz="quarter" idx="14" hasCustomPrompt="1"/>
          </p:nvPr>
        </p:nvSpPr>
        <p:spPr>
          <a:xfrm>
            <a:off x="3326028" y="831390"/>
            <a:ext cx="2619538" cy="488350"/>
          </a:xfrm>
        </p:spPr>
        <p:txBody>
          <a:bodyPr/>
          <a:lstStyle>
            <a:lvl1pPr marL="0" indent="0">
              <a:buNone/>
              <a:defRPr b="1">
                <a:solidFill>
                  <a:schemeClr val="bg2"/>
                </a:solidFill>
              </a:defRPr>
            </a:lvl1pPr>
          </a:lstStyle>
          <a:p>
            <a:pPr lvl="0"/>
            <a:r>
              <a:rPr lang="en-US"/>
              <a:t>Secondary Title</a:t>
            </a:r>
          </a:p>
        </p:txBody>
      </p:sp>
      <p:sp>
        <p:nvSpPr>
          <p:cNvPr id="11" name="Text Placeholder 4">
            <a:extLst>
              <a:ext uri="{FF2B5EF4-FFF2-40B4-BE49-F238E27FC236}">
                <a16:creationId xmlns:a16="http://schemas.microsoft.com/office/drawing/2014/main" id="{C1BBB2F8-C068-8647-8D26-B02488C936E6}"/>
              </a:ext>
            </a:extLst>
          </p:cNvPr>
          <p:cNvSpPr>
            <a:spLocks noGrp="1"/>
          </p:cNvSpPr>
          <p:nvPr>
            <p:ph type="body" sz="quarter" idx="15"/>
          </p:nvPr>
        </p:nvSpPr>
        <p:spPr>
          <a:xfrm>
            <a:off x="6252730" y="1332873"/>
            <a:ext cx="2616880" cy="4797888"/>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12" name="Text Placeholder 6">
            <a:extLst>
              <a:ext uri="{FF2B5EF4-FFF2-40B4-BE49-F238E27FC236}">
                <a16:creationId xmlns:a16="http://schemas.microsoft.com/office/drawing/2014/main" id="{B5926447-C0D1-F640-9CEC-98E75656232B}"/>
              </a:ext>
            </a:extLst>
          </p:cNvPr>
          <p:cNvSpPr>
            <a:spLocks noGrp="1"/>
          </p:cNvSpPr>
          <p:nvPr>
            <p:ph type="body" sz="quarter" idx="16" hasCustomPrompt="1"/>
          </p:nvPr>
        </p:nvSpPr>
        <p:spPr>
          <a:xfrm>
            <a:off x="6252730" y="831390"/>
            <a:ext cx="2619538" cy="488350"/>
          </a:xfrm>
        </p:spPr>
        <p:txBody>
          <a:bodyPr/>
          <a:lstStyle>
            <a:lvl1pPr marL="0" indent="0">
              <a:buNone/>
              <a:defRPr b="1">
                <a:solidFill>
                  <a:schemeClr val="bg2"/>
                </a:solidFill>
              </a:defRPr>
            </a:lvl1pPr>
          </a:lstStyle>
          <a:p>
            <a:pPr lvl="0"/>
            <a:r>
              <a:rPr lang="en-US"/>
              <a:t>Secondary Title</a:t>
            </a:r>
          </a:p>
        </p:txBody>
      </p:sp>
      <p:sp>
        <p:nvSpPr>
          <p:cNvPr id="13" name="Text Placeholder 4">
            <a:extLst>
              <a:ext uri="{FF2B5EF4-FFF2-40B4-BE49-F238E27FC236}">
                <a16:creationId xmlns:a16="http://schemas.microsoft.com/office/drawing/2014/main" id="{14DE47B1-BDFF-5D47-A883-70200701E08A}"/>
              </a:ext>
            </a:extLst>
          </p:cNvPr>
          <p:cNvSpPr>
            <a:spLocks noGrp="1"/>
          </p:cNvSpPr>
          <p:nvPr>
            <p:ph type="body" sz="quarter" idx="17"/>
          </p:nvPr>
        </p:nvSpPr>
        <p:spPr>
          <a:xfrm>
            <a:off x="9179435" y="1332873"/>
            <a:ext cx="2616880" cy="4797888"/>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14" name="Text Placeholder 6">
            <a:extLst>
              <a:ext uri="{FF2B5EF4-FFF2-40B4-BE49-F238E27FC236}">
                <a16:creationId xmlns:a16="http://schemas.microsoft.com/office/drawing/2014/main" id="{9032F1EB-5601-284A-8722-9F4737CF454C}"/>
              </a:ext>
            </a:extLst>
          </p:cNvPr>
          <p:cNvSpPr>
            <a:spLocks noGrp="1"/>
          </p:cNvSpPr>
          <p:nvPr>
            <p:ph type="body" sz="quarter" idx="18" hasCustomPrompt="1"/>
          </p:nvPr>
        </p:nvSpPr>
        <p:spPr>
          <a:xfrm>
            <a:off x="9179433" y="831390"/>
            <a:ext cx="2619538" cy="488350"/>
          </a:xfrm>
        </p:spPr>
        <p:txBody>
          <a:bodyPr/>
          <a:lstStyle>
            <a:lvl1pPr marL="0" indent="0">
              <a:buNone/>
              <a:defRPr b="1">
                <a:solidFill>
                  <a:schemeClr val="bg2"/>
                </a:solidFill>
              </a:defRPr>
            </a:lvl1pPr>
          </a:lstStyle>
          <a:p>
            <a:pPr lvl="0"/>
            <a:r>
              <a:rPr lang="en-US"/>
              <a:t>Secondary Title</a:t>
            </a:r>
          </a:p>
        </p:txBody>
      </p:sp>
      <p:sp>
        <p:nvSpPr>
          <p:cNvPr id="3" name="Title 2">
            <a:extLst>
              <a:ext uri="{FF2B5EF4-FFF2-40B4-BE49-F238E27FC236}">
                <a16:creationId xmlns:a16="http://schemas.microsoft.com/office/drawing/2014/main" id="{7E4676FE-F387-584D-BCE3-7A77DB6C7391}"/>
              </a:ext>
            </a:extLst>
          </p:cNvPr>
          <p:cNvSpPr>
            <a:spLocks noGrp="1"/>
          </p:cNvSpPr>
          <p:nvPr>
            <p:ph type="title"/>
          </p:nvPr>
        </p:nvSpPr>
        <p:spPr/>
        <p:txBody>
          <a:bodyPr/>
          <a:lstStyle/>
          <a:p>
            <a:r>
              <a:rPr lang="en-US"/>
              <a:t>Click to edit Master title style</a:t>
            </a:r>
          </a:p>
        </p:txBody>
      </p:sp>
      <p:pic>
        <p:nvPicPr>
          <p:cNvPr id="16" name="Picture 15">
            <a:extLst>
              <a:ext uri="{FF2B5EF4-FFF2-40B4-BE49-F238E27FC236}">
                <a16:creationId xmlns:a16="http://schemas.microsoft.com/office/drawing/2014/main" id="{EED1279E-A20C-644E-A08B-4DE7AADE70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90108207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wo Logos">
    <p:spTree>
      <p:nvGrpSpPr>
        <p:cNvPr id="1" name=""/>
        <p:cNvGrpSpPr/>
        <p:nvPr/>
      </p:nvGrpSpPr>
      <p:grpSpPr>
        <a:xfrm>
          <a:off x="0" y="0"/>
          <a:ext cx="0" cy="0"/>
          <a:chOff x="0" y="0"/>
          <a:chExt cx="0" cy="0"/>
        </a:xfrm>
        <a:effectLst/>
      </p:grpSpPr>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3" y="1319740"/>
            <a:ext cx="3601399" cy="4757503"/>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3658D0B4-4F0C-624F-AE42-A3AA4BC92542}"/>
              </a:ext>
            </a:extLst>
          </p:cNvPr>
          <p:cNvSpPr>
            <a:spLocks noGrp="1"/>
          </p:cNvSpPr>
          <p:nvPr>
            <p:ph type="body" sz="quarter" idx="12" hasCustomPrompt="1"/>
          </p:nvPr>
        </p:nvSpPr>
        <p:spPr>
          <a:xfrm>
            <a:off x="390376" y="831390"/>
            <a:ext cx="3605057" cy="488350"/>
          </a:xfrm>
        </p:spPr>
        <p:txBody>
          <a:bodyPr/>
          <a:lstStyle>
            <a:lvl1pPr marL="0" indent="0">
              <a:buNone/>
              <a:defRPr b="1">
                <a:solidFill>
                  <a:schemeClr val="bg2"/>
                </a:solidFill>
              </a:defRPr>
            </a:lvl1pPr>
          </a:lstStyle>
          <a:p>
            <a:pPr lvl="0"/>
            <a:r>
              <a:rPr lang="en-US"/>
              <a:t>Secondary Title</a:t>
            </a:r>
          </a:p>
        </p:txBody>
      </p:sp>
      <p:sp>
        <p:nvSpPr>
          <p:cNvPr id="8" name="Text Placeholder 4">
            <a:extLst>
              <a:ext uri="{FF2B5EF4-FFF2-40B4-BE49-F238E27FC236}">
                <a16:creationId xmlns:a16="http://schemas.microsoft.com/office/drawing/2014/main" id="{391AA21E-8A7D-6B43-BDC9-D34EB4F7FF62}"/>
              </a:ext>
            </a:extLst>
          </p:cNvPr>
          <p:cNvSpPr>
            <a:spLocks noGrp="1"/>
          </p:cNvSpPr>
          <p:nvPr>
            <p:ph type="body" sz="quarter" idx="13"/>
          </p:nvPr>
        </p:nvSpPr>
        <p:spPr>
          <a:xfrm>
            <a:off x="4301593" y="1319740"/>
            <a:ext cx="3601399" cy="4757503"/>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10" name="Text Placeholder 6">
            <a:extLst>
              <a:ext uri="{FF2B5EF4-FFF2-40B4-BE49-F238E27FC236}">
                <a16:creationId xmlns:a16="http://schemas.microsoft.com/office/drawing/2014/main" id="{D401D20F-5515-3A41-8B30-9659A504900F}"/>
              </a:ext>
            </a:extLst>
          </p:cNvPr>
          <p:cNvSpPr>
            <a:spLocks noGrp="1"/>
          </p:cNvSpPr>
          <p:nvPr>
            <p:ph type="body" sz="quarter" idx="14" hasCustomPrompt="1"/>
          </p:nvPr>
        </p:nvSpPr>
        <p:spPr>
          <a:xfrm>
            <a:off x="4301596" y="831390"/>
            <a:ext cx="3605057" cy="488350"/>
          </a:xfrm>
        </p:spPr>
        <p:txBody>
          <a:bodyPr/>
          <a:lstStyle>
            <a:lvl1pPr marL="0" indent="0">
              <a:buNone/>
              <a:defRPr b="1">
                <a:solidFill>
                  <a:schemeClr val="bg2"/>
                </a:solidFill>
              </a:defRPr>
            </a:lvl1pPr>
          </a:lstStyle>
          <a:p>
            <a:pPr lvl="0"/>
            <a:r>
              <a:rPr lang="en-US"/>
              <a:t>Secondary Title</a:t>
            </a:r>
          </a:p>
        </p:txBody>
      </p:sp>
      <p:sp>
        <p:nvSpPr>
          <p:cNvPr id="11" name="Text Placeholder 4">
            <a:extLst>
              <a:ext uri="{FF2B5EF4-FFF2-40B4-BE49-F238E27FC236}">
                <a16:creationId xmlns:a16="http://schemas.microsoft.com/office/drawing/2014/main" id="{F9F40ECF-B70F-F347-A92D-4C8E7346F9C5}"/>
              </a:ext>
            </a:extLst>
          </p:cNvPr>
          <p:cNvSpPr>
            <a:spLocks noGrp="1"/>
          </p:cNvSpPr>
          <p:nvPr>
            <p:ph type="body" sz="quarter" idx="15"/>
          </p:nvPr>
        </p:nvSpPr>
        <p:spPr>
          <a:xfrm>
            <a:off x="8203866" y="1319740"/>
            <a:ext cx="3601399" cy="4757503"/>
          </a:xfrm>
        </p:spPr>
        <p:txBody>
          <a:bodyPr>
            <a:normAutofit/>
          </a:bodyPr>
          <a:lstStyle>
            <a:lvl1pPr>
              <a:defRPr sz="1519"/>
            </a:lvl1pPr>
            <a:lvl2pPr>
              <a:defRPr sz="1329"/>
            </a:lvl2pPr>
            <a:lvl3pPr>
              <a:defRPr sz="1329"/>
            </a:lvl3pPr>
          </a:lstStyle>
          <a:p>
            <a:pPr lvl="0"/>
            <a:r>
              <a:rPr lang="en-US"/>
              <a:t>Edit Master text styles</a:t>
            </a:r>
          </a:p>
          <a:p>
            <a:pPr lvl="1"/>
            <a:r>
              <a:rPr lang="en-US"/>
              <a:t>Second level</a:t>
            </a:r>
          </a:p>
          <a:p>
            <a:pPr lvl="2"/>
            <a:r>
              <a:rPr lang="en-US"/>
              <a:t>Third level</a:t>
            </a:r>
          </a:p>
        </p:txBody>
      </p:sp>
      <p:sp>
        <p:nvSpPr>
          <p:cNvPr id="12" name="Text Placeholder 6">
            <a:extLst>
              <a:ext uri="{FF2B5EF4-FFF2-40B4-BE49-F238E27FC236}">
                <a16:creationId xmlns:a16="http://schemas.microsoft.com/office/drawing/2014/main" id="{C66E62FE-668E-DC40-9187-C28F5828F9F8}"/>
              </a:ext>
            </a:extLst>
          </p:cNvPr>
          <p:cNvSpPr>
            <a:spLocks noGrp="1"/>
          </p:cNvSpPr>
          <p:nvPr>
            <p:ph type="body" sz="quarter" idx="16" hasCustomPrompt="1"/>
          </p:nvPr>
        </p:nvSpPr>
        <p:spPr>
          <a:xfrm>
            <a:off x="8203867" y="831390"/>
            <a:ext cx="3605057" cy="488350"/>
          </a:xfrm>
        </p:spPr>
        <p:txBody>
          <a:bodyPr/>
          <a:lstStyle>
            <a:lvl1pPr marL="0" indent="0">
              <a:buNone/>
              <a:defRPr b="1">
                <a:solidFill>
                  <a:schemeClr val="bg2"/>
                </a:solidFill>
              </a:defRPr>
            </a:lvl1pPr>
          </a:lstStyle>
          <a:p>
            <a:pPr lvl="0"/>
            <a:r>
              <a:rPr lang="en-US"/>
              <a:t>Secondary Title</a:t>
            </a:r>
          </a:p>
        </p:txBody>
      </p:sp>
      <p:sp>
        <p:nvSpPr>
          <p:cNvPr id="3" name="Title 2">
            <a:extLst>
              <a:ext uri="{FF2B5EF4-FFF2-40B4-BE49-F238E27FC236}">
                <a16:creationId xmlns:a16="http://schemas.microsoft.com/office/drawing/2014/main" id="{919EA584-46BF-0D48-905F-A592773B6BBA}"/>
              </a:ext>
            </a:extLst>
          </p:cNvPr>
          <p:cNvSpPr>
            <a:spLocks noGrp="1"/>
          </p:cNvSpPr>
          <p:nvPr>
            <p:ph type="title"/>
          </p:nvPr>
        </p:nvSpPr>
        <p:spPr/>
        <p:txBody>
          <a:bodyPr/>
          <a:lstStyle/>
          <a:p>
            <a:r>
              <a:rPr lang="en-US"/>
              <a:t>Click to edit Master title style</a:t>
            </a:r>
          </a:p>
        </p:txBody>
      </p:sp>
      <p:pic>
        <p:nvPicPr>
          <p:cNvPr id="14" name="Picture 13">
            <a:extLst>
              <a:ext uri="{FF2B5EF4-FFF2-40B4-BE49-F238E27FC236}">
                <a16:creationId xmlns:a16="http://schemas.microsoft.com/office/drawing/2014/main" id="{0F3EF8D2-F39D-4E48-A11B-AE3A8F194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115337269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graphic - Two Logos">
    <p:spTree>
      <p:nvGrpSpPr>
        <p:cNvPr id="1" name=""/>
        <p:cNvGrpSpPr/>
        <p:nvPr/>
      </p:nvGrpSpPr>
      <p:grpSpPr>
        <a:xfrm>
          <a:off x="0" y="0"/>
          <a:ext cx="0" cy="0"/>
          <a:chOff x="0" y="0"/>
          <a:chExt cx="0" cy="0"/>
        </a:xfrm>
        <a:effectLst/>
      </p:grpSpPr>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4" y="1332873"/>
            <a:ext cx="5550020" cy="4832290"/>
          </a:xfrm>
        </p:spPr>
        <p:txBody>
          <a:bodyPr/>
          <a:lstStyle>
            <a:lvl4pPr>
              <a:defRPr/>
            </a:lvl4pPr>
          </a:lstStyle>
          <a:p>
            <a:pPr lvl="0"/>
            <a:r>
              <a:rPr lang="en-US"/>
              <a:t>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3658D0B4-4F0C-624F-AE42-A3AA4BC92542}"/>
              </a:ext>
            </a:extLst>
          </p:cNvPr>
          <p:cNvSpPr>
            <a:spLocks noGrp="1"/>
          </p:cNvSpPr>
          <p:nvPr>
            <p:ph type="body" sz="quarter" idx="12" hasCustomPrompt="1"/>
          </p:nvPr>
        </p:nvSpPr>
        <p:spPr>
          <a:xfrm>
            <a:off x="390376" y="831390"/>
            <a:ext cx="5555657" cy="488350"/>
          </a:xfrm>
        </p:spPr>
        <p:txBody>
          <a:bodyPr/>
          <a:lstStyle>
            <a:lvl1pPr marL="0" indent="0">
              <a:buNone/>
              <a:defRPr b="1">
                <a:solidFill>
                  <a:schemeClr val="bg2"/>
                </a:solidFill>
              </a:defRPr>
            </a:lvl1pPr>
          </a:lstStyle>
          <a:p>
            <a:pPr lvl="0"/>
            <a:r>
              <a:rPr lang="en-US"/>
              <a:t>Secondary Title</a:t>
            </a:r>
          </a:p>
        </p:txBody>
      </p:sp>
      <p:sp>
        <p:nvSpPr>
          <p:cNvPr id="8" name="Content Placeholder 7">
            <a:extLst>
              <a:ext uri="{FF2B5EF4-FFF2-40B4-BE49-F238E27FC236}">
                <a16:creationId xmlns:a16="http://schemas.microsoft.com/office/drawing/2014/main" id="{9793B35C-2490-754A-8733-A2C20CFBC704}"/>
              </a:ext>
            </a:extLst>
          </p:cNvPr>
          <p:cNvSpPr>
            <a:spLocks noGrp="1"/>
          </p:cNvSpPr>
          <p:nvPr>
            <p:ph sz="quarter" idx="13" hasCustomPrompt="1"/>
          </p:nvPr>
        </p:nvSpPr>
        <p:spPr>
          <a:xfrm>
            <a:off x="6238433" y="831393"/>
            <a:ext cx="5558672" cy="5311263"/>
          </a:xfrm>
        </p:spPr>
        <p:txBody>
          <a:bodyPr/>
          <a:lstStyle>
            <a:lvl1pPr>
              <a:defRPr/>
            </a:lvl1pPr>
          </a:lstStyle>
          <a:p>
            <a:pPr lvl="0"/>
            <a:r>
              <a:rPr lang="en-US"/>
              <a:t>Infographic, chart, table etc.</a:t>
            </a:r>
          </a:p>
        </p:txBody>
      </p:sp>
      <p:sp>
        <p:nvSpPr>
          <p:cNvPr id="3" name="Title 2">
            <a:extLst>
              <a:ext uri="{FF2B5EF4-FFF2-40B4-BE49-F238E27FC236}">
                <a16:creationId xmlns:a16="http://schemas.microsoft.com/office/drawing/2014/main" id="{C806CE97-C3C5-F04B-90EE-5CC923CA04ED}"/>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D15433F8-5782-514D-935D-7A851A3A1E2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397989114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59546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Last Page Logo">
    <p:spTree>
      <p:nvGrpSpPr>
        <p:cNvPr id="1" name=""/>
        <p:cNvGrpSpPr/>
        <p:nvPr/>
      </p:nvGrpSpPr>
      <p:grpSpPr>
        <a:xfrm>
          <a:off x="0" y="0"/>
          <a:ext cx="0" cy="0"/>
          <a:chOff x="0" y="0"/>
          <a:chExt cx="0" cy="0"/>
        </a:xfrm>
        <a:effectLst/>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60007" y="2170980"/>
            <a:ext cx="2471986" cy="2516040"/>
          </a:xfrm>
          <a:prstGeom prst="rect">
            <a:avLst/>
          </a:prstGeom>
          <a:effectLst/>
        </p:spPr>
      </p:pic>
    </p:spTree>
    <p:extLst>
      <p:ext uri="{BB962C8B-B14F-4D97-AF65-F5344CB8AC3E}">
        <p14:creationId xmlns:p14="http://schemas.microsoft.com/office/powerpoint/2010/main" val="327900570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ast Page Logo - Contour Dark">
    <p:bg>
      <p:bgPr>
        <a:solidFill>
          <a:schemeClr val="bg2"/>
        </a:solidFill>
        <a:effectLst/>
      </p:bgPr>
    </p:bg>
    <p:spTree>
      <p:nvGrpSpPr>
        <p:cNvPr id="1" name=""/>
        <p:cNvGrpSpPr/>
        <p:nvPr/>
      </p:nvGrpSpPr>
      <p:grpSpPr>
        <a:xfrm>
          <a:off x="0" y="0"/>
          <a:ext cx="0" cy="0"/>
          <a:chOff x="0" y="0"/>
          <a:chExt cx="0" cy="0"/>
        </a:xfrm>
        <a:effectLst/>
      </p:grpSpPr>
      <p:pic>
        <p:nvPicPr>
          <p:cNvPr id="3" name="Picture 2">
            <a:extLst>
              <a:ext uri="{FF2B5EF4-FFF2-40B4-BE49-F238E27FC236}">
                <a16:creationId xmlns:a16="http://schemas.microsoft.com/office/drawing/2014/main" id="{CF248BF5-C74A-B94E-9B0A-2B7B72CF94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5949" y="2396234"/>
            <a:ext cx="4260108" cy="2065535"/>
          </a:xfrm>
          <a:prstGeom prst="rect">
            <a:avLst/>
          </a:prstGeom>
        </p:spPr>
      </p:pic>
    </p:spTree>
    <p:extLst>
      <p:ext uri="{BB962C8B-B14F-4D97-AF65-F5344CB8AC3E}">
        <p14:creationId xmlns:p14="http://schemas.microsoft.com/office/powerpoint/2010/main" val="209922124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ingle Column">
  <p:cSld name="Single Column">
    <p:bg>
      <p:bgPr>
        <a:solidFill>
          <a:schemeClr val="lt1"/>
        </a:solidFill>
        <a:effectLst/>
      </p:bgPr>
    </p:bg>
    <p:spTree>
      <p:nvGrpSpPr>
        <p:cNvPr id="1" name="Shape 25"/>
        <p:cNvGrpSpPr/>
        <p:nvPr/>
      </p:nvGrpSpPr>
      <p:grpSpPr>
        <a:xfrm>
          <a:off x="0" y="0"/>
          <a:ext cx="0" cy="0"/>
          <a:chOff x="0" y="0"/>
          <a:chExt cx="0" cy="0"/>
        </a:xfrm>
      </p:grpSpPr>
      <p:sp>
        <p:nvSpPr>
          <p:cNvPr id="26" name="Google Shape;26;p3"/>
          <p:cNvSpPr txBox="1">
            <a:spLocks noGrp="1"/>
          </p:cNvSpPr>
          <p:nvPr>
            <p:ph type="body" idx="1"/>
          </p:nvPr>
        </p:nvSpPr>
        <p:spPr>
          <a:xfrm>
            <a:off x="448610" y="1466850"/>
            <a:ext cx="11403525" cy="4536418"/>
          </a:xfrm>
          <a:prstGeom prst="rect">
            <a:avLst/>
          </a:prstGeom>
          <a:noFill/>
          <a:ln>
            <a:noFill/>
          </a:ln>
        </p:spPr>
        <p:txBody>
          <a:bodyPr spcFirstLastPara="1" wrap="square" lIns="91425" tIns="91425" rIns="91425" bIns="91425" anchor="t" anchorCtr="0"/>
          <a:lstStyle>
            <a:lvl1pPr marL="457074" marR="0" lvl="0" indent="-368199" algn="l" rtl="0">
              <a:lnSpc>
                <a:spcPct val="100000"/>
              </a:lnSpc>
              <a:spcBef>
                <a:spcPts val="440"/>
              </a:spcBef>
              <a:spcAft>
                <a:spcPts val="0"/>
              </a:spcAft>
              <a:buClr>
                <a:srgbClr val="000000"/>
              </a:buClr>
              <a:buSzPts val="2200"/>
              <a:buFont typeface="Arial"/>
              <a:buChar char="•"/>
              <a:defRPr sz="2200" b="0" i="0" u="none" strike="noStrike" cap="none">
                <a:solidFill>
                  <a:srgbClr val="000000"/>
                </a:solidFill>
                <a:latin typeface="Calibri"/>
                <a:ea typeface="Calibri"/>
                <a:cs typeface="Calibri"/>
                <a:sym typeface="Calibri"/>
              </a:defRPr>
            </a:lvl1pPr>
            <a:lvl2pPr marL="914148" marR="0" lvl="1" indent="-355501" algn="l" rtl="0">
              <a:lnSpc>
                <a:spcPct val="100000"/>
              </a:lnSpc>
              <a:spcBef>
                <a:spcPts val="400"/>
              </a:spcBef>
              <a:spcAft>
                <a:spcPts val="0"/>
              </a:spcAft>
              <a:buClr>
                <a:srgbClr val="000000"/>
              </a:buClr>
              <a:buSzPts val="2000"/>
              <a:buFont typeface="Arial"/>
              <a:buChar char="•"/>
              <a:defRPr sz="1998" b="0" i="0" u="none" strike="noStrike" cap="none">
                <a:solidFill>
                  <a:srgbClr val="000000"/>
                </a:solidFill>
                <a:latin typeface="Calibri"/>
                <a:ea typeface="Calibri"/>
                <a:cs typeface="Calibri"/>
                <a:sym typeface="Calibri"/>
              </a:defRPr>
            </a:lvl2pPr>
            <a:lvl3pPr marL="1371222" marR="0" lvl="2" indent="-342806" algn="l" rtl="0">
              <a:lnSpc>
                <a:spcPct val="100000"/>
              </a:lnSpc>
              <a:spcBef>
                <a:spcPts val="36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3pPr>
            <a:lvl4pPr marL="1828296" marR="0" lvl="3" indent="-342806" algn="l" rtl="0">
              <a:lnSpc>
                <a:spcPct val="100000"/>
              </a:lnSpc>
              <a:spcBef>
                <a:spcPts val="36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4pPr>
            <a:lvl5pPr marL="2285370" marR="0" lvl="4" indent="-342806" algn="l" rtl="0">
              <a:lnSpc>
                <a:spcPct val="100000"/>
              </a:lnSpc>
              <a:spcBef>
                <a:spcPts val="36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5pPr>
            <a:lvl6pPr marL="2742443" marR="0" lvl="5" indent="-342806"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199518" marR="0" lvl="6" indent="-342806"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6589" marR="0" lvl="7" indent="-342806"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3665" marR="0" lvl="8" indent="-355501" algn="l" rtl="0">
              <a:lnSpc>
                <a:spcPct val="100000"/>
              </a:lnSpc>
              <a:spcBef>
                <a:spcPts val="400"/>
              </a:spcBef>
              <a:spcAft>
                <a:spcPts val="0"/>
              </a:spcAft>
              <a:buClr>
                <a:schemeClr val="dk1"/>
              </a:buClr>
              <a:buSzPts val="2000"/>
              <a:buFont typeface="Arial"/>
              <a:buChar char="•"/>
              <a:defRPr sz="1998" b="0" i="0" u="none" strike="noStrike" cap="none">
                <a:solidFill>
                  <a:schemeClr val="dk1"/>
                </a:solidFill>
                <a:latin typeface="Calibri"/>
                <a:ea typeface="Calibri"/>
                <a:cs typeface="Calibri"/>
                <a:sym typeface="Calibri"/>
              </a:defRPr>
            </a:lvl9pPr>
          </a:lstStyle>
          <a:p>
            <a:endParaRPr/>
          </a:p>
        </p:txBody>
      </p:sp>
      <p:sp>
        <p:nvSpPr>
          <p:cNvPr id="27" name="Google Shape;27;p3"/>
          <p:cNvSpPr txBox="1">
            <a:spLocks noGrp="1"/>
          </p:cNvSpPr>
          <p:nvPr>
            <p:ph type="ftr" idx="11"/>
          </p:nvPr>
        </p:nvSpPr>
        <p:spPr>
          <a:xfrm>
            <a:off x="1166519" y="6356356"/>
            <a:ext cx="9652000" cy="365125"/>
          </a:xfrm>
          <a:prstGeom prst="rect">
            <a:avLst/>
          </a:prstGeom>
          <a:noFill/>
          <a:ln>
            <a:noFill/>
          </a:ln>
        </p:spPr>
        <p:txBody>
          <a:bodyPr spcFirstLastPara="1" wrap="square" lIns="91425" tIns="91425" rIns="91425" bIns="91425" anchor="b" anchorCtr="0"/>
          <a:lstStyle>
            <a:lvl1pPr marR="0" lvl="0" algn="l" rtl="0">
              <a:lnSpc>
                <a:spcPct val="100000"/>
              </a:lnSpc>
              <a:spcBef>
                <a:spcPts val="0"/>
              </a:spcBef>
              <a:spcAft>
                <a:spcPts val="0"/>
              </a:spcAft>
              <a:buClr>
                <a:srgbClr val="888888"/>
              </a:buClr>
              <a:buSzPts val="1400"/>
              <a:buFont typeface="Calibri"/>
              <a:buNone/>
              <a:defRPr sz="11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3"/>
          <p:cNvSpPr txBox="1">
            <a:spLocks noGrp="1"/>
          </p:cNvSpPr>
          <p:nvPr>
            <p:ph type="sldNum" idx="12"/>
          </p:nvPr>
        </p:nvSpPr>
        <p:spPr>
          <a:xfrm>
            <a:off x="448610" y="6356356"/>
            <a:ext cx="526815" cy="365125"/>
          </a:xfrm>
          <a:prstGeom prst="rect">
            <a:avLst/>
          </a:prstGeom>
          <a:noFill/>
          <a:ln>
            <a:noFill/>
          </a:ln>
        </p:spPr>
        <p:txBody>
          <a:bodyPr spcFirstLastPara="1" wrap="square" lIns="91425" tIns="45700" rIns="91425" bIns="45700" anchor="b" anchorCtr="0">
            <a:noAutofit/>
          </a:bodyPr>
          <a:lstStyle>
            <a:lvl1pPr marL="0" marR="0" lvl="0"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1pPr>
            <a:lvl2pPr marL="0" marR="0" lvl="1"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2pPr>
            <a:lvl3pPr marL="0" marR="0" lvl="2"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3pPr>
            <a:lvl4pPr marL="0" marR="0" lvl="3"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4pPr>
            <a:lvl5pPr marL="0" marR="0" lvl="4"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5pPr>
            <a:lvl6pPr marL="0" marR="0" lvl="5"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6pPr>
            <a:lvl7pPr marL="0" marR="0" lvl="6"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7pPr>
            <a:lvl8pPr marL="0" marR="0" lvl="7"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8pPr>
            <a:lvl9pPr marL="0" marR="0" lvl="8" indent="0" algn="l" rtl="0">
              <a:lnSpc>
                <a:spcPct val="100000"/>
              </a:lnSpc>
              <a:spcBef>
                <a:spcPts val="0"/>
              </a:spcBef>
              <a:spcAft>
                <a:spcPts val="0"/>
              </a:spcAft>
              <a:buClr>
                <a:srgbClr val="888888"/>
              </a:buClr>
              <a:buSzPts val="1050"/>
              <a:buFont typeface="Calibri"/>
              <a:buNone/>
              <a:defRPr sz="105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
        <p:nvSpPr>
          <p:cNvPr id="29" name="Google Shape;29;p3"/>
          <p:cNvSpPr txBox="1">
            <a:spLocks noGrp="1"/>
          </p:cNvSpPr>
          <p:nvPr>
            <p:ph type="title"/>
          </p:nvPr>
        </p:nvSpPr>
        <p:spPr>
          <a:xfrm>
            <a:off x="598148" y="277010"/>
            <a:ext cx="9008137" cy="801487"/>
          </a:xfrm>
          <a:prstGeom prst="rect">
            <a:avLst/>
          </a:prstGeom>
          <a:noFill/>
          <a:ln>
            <a:noFill/>
          </a:ln>
        </p:spPr>
        <p:txBody>
          <a:bodyPr spcFirstLastPara="1" wrap="square" lIns="91425" tIns="91425" rIns="91425" bIns="91425" anchor="b" anchorCtr="0"/>
          <a:lstStyle>
            <a:lvl1pPr marR="0" lvl="0" algn="l" rtl="0">
              <a:lnSpc>
                <a:spcPct val="100000"/>
              </a:lnSpc>
              <a:spcBef>
                <a:spcPts val="0"/>
              </a:spcBef>
              <a:spcAft>
                <a:spcPts val="0"/>
              </a:spcAft>
              <a:buClr>
                <a:schemeClr val="dk2"/>
              </a:buClr>
              <a:buSzPts val="2800"/>
              <a:buFont typeface="Calibri"/>
              <a:buNone/>
              <a:defRPr sz="2800" b="0" i="0" u="none" strike="noStrike" cap="none">
                <a:solidFill>
                  <a:schemeClr val="dk2"/>
                </a:solidFill>
                <a:latin typeface="Calibri"/>
                <a:ea typeface="Calibri"/>
                <a:cs typeface="Calibri"/>
                <a:sym typeface="Calibri"/>
              </a:defRPr>
            </a:lvl1pPr>
            <a:lvl2pPr lvl="1">
              <a:spcBef>
                <a:spcPts val="0"/>
              </a:spcBef>
              <a:spcAft>
                <a:spcPts val="0"/>
              </a:spcAft>
              <a:buSzPts val="1400"/>
              <a:buFont typeface="Arial"/>
              <a:buNone/>
              <a:defRPr sz="1800"/>
            </a:lvl2pPr>
            <a:lvl3pPr lvl="2">
              <a:spcBef>
                <a:spcPts val="0"/>
              </a:spcBef>
              <a:spcAft>
                <a:spcPts val="0"/>
              </a:spcAft>
              <a:buSzPts val="1400"/>
              <a:buFont typeface="Arial"/>
              <a:buNone/>
              <a:defRPr sz="1800"/>
            </a:lvl3pPr>
            <a:lvl4pPr lvl="3">
              <a:spcBef>
                <a:spcPts val="0"/>
              </a:spcBef>
              <a:spcAft>
                <a:spcPts val="0"/>
              </a:spcAft>
              <a:buSzPts val="1400"/>
              <a:buFont typeface="Arial"/>
              <a:buNone/>
              <a:defRPr sz="1800"/>
            </a:lvl4pPr>
            <a:lvl5pPr lvl="4">
              <a:spcBef>
                <a:spcPts val="0"/>
              </a:spcBef>
              <a:spcAft>
                <a:spcPts val="0"/>
              </a:spcAft>
              <a:buSzPts val="1400"/>
              <a:buFont typeface="Arial"/>
              <a:buNone/>
              <a:defRPr sz="1800"/>
            </a:lvl5pPr>
            <a:lvl6pPr lvl="5">
              <a:spcBef>
                <a:spcPts val="0"/>
              </a:spcBef>
              <a:spcAft>
                <a:spcPts val="0"/>
              </a:spcAft>
              <a:buSzPts val="1400"/>
              <a:buFont typeface="Arial"/>
              <a:buNone/>
              <a:defRPr sz="1800"/>
            </a:lvl6pPr>
            <a:lvl7pPr lvl="6">
              <a:spcBef>
                <a:spcPts val="0"/>
              </a:spcBef>
              <a:spcAft>
                <a:spcPts val="0"/>
              </a:spcAft>
              <a:buSzPts val="1400"/>
              <a:buFont typeface="Arial"/>
              <a:buNone/>
              <a:defRPr sz="1800"/>
            </a:lvl7pPr>
            <a:lvl8pPr lvl="7">
              <a:spcBef>
                <a:spcPts val="0"/>
              </a:spcBef>
              <a:spcAft>
                <a:spcPts val="0"/>
              </a:spcAft>
              <a:buSzPts val="1400"/>
              <a:buFont typeface="Arial"/>
              <a:buNone/>
              <a:defRPr sz="1800"/>
            </a:lvl8pPr>
            <a:lvl9pPr lvl="8">
              <a:spcBef>
                <a:spcPts val="0"/>
              </a:spcBef>
              <a:spcAft>
                <a:spcPts val="0"/>
              </a:spcAft>
              <a:buSzPts val="1400"/>
              <a:buFont typeface="Arial"/>
              <a:buNone/>
              <a:defRPr sz="1800"/>
            </a:lvl9pPr>
          </a:lstStyle>
          <a:p>
            <a:endParaRPr/>
          </a:p>
        </p:txBody>
      </p:sp>
    </p:spTree>
    <p:extLst>
      <p:ext uri="{BB962C8B-B14F-4D97-AF65-F5344CB8AC3E}">
        <p14:creationId xmlns:p14="http://schemas.microsoft.com/office/powerpoint/2010/main" val="24614356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1 Column  - Two Logos">
    <p:spTree>
      <p:nvGrpSpPr>
        <p:cNvPr id="1" name=""/>
        <p:cNvGrpSpPr/>
        <p:nvPr/>
      </p:nvGrpSpPr>
      <p:grpSpPr>
        <a:xfrm>
          <a:off x="0" y="0"/>
          <a:ext cx="0" cy="0"/>
          <a:chOff x="0" y="0"/>
          <a:chExt cx="0" cy="0"/>
        </a:xfrm>
        <a:effectLst/>
      </p:grpSpPr>
      <p:sp>
        <p:nvSpPr>
          <p:cNvPr id="2" name="Title 1"/>
          <p:cNvSpPr>
            <a:spLocks noGrp="1"/>
          </p:cNvSpPr>
          <p:nvPr>
            <p:ph type="title"/>
          </p:nvPr>
        </p:nvSpPr>
        <p:spPr>
          <a:effectLst/>
        </p:spPr>
        <p:txBody>
          <a:bodyPr/>
          <a:lstStyle/>
          <a:p>
            <a:r>
              <a:rPr lang="en-US">
                <a:effectLst/>
              </a:rPr>
              <a:t>Click to edit Master title style</a:t>
            </a:r>
            <a:endParaRPr lang="fr-FR">
              <a:effectLst/>
            </a:endParaRPr>
          </a:p>
        </p:txBody>
      </p:sp>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3" y="831393"/>
            <a:ext cx="11406732" cy="5275585"/>
          </a:xfrm>
        </p:spPr>
        <p:txBody>
          <a:bodyPr/>
          <a:lstStyle/>
          <a:p>
            <a:pPr lvl="0"/>
            <a:r>
              <a:rPr lang="en-US"/>
              <a:t>Edit Master text styles</a:t>
            </a:r>
          </a:p>
          <a:p>
            <a:pPr lvl="1"/>
            <a:r>
              <a:rPr lang="en-US"/>
              <a:t>Second level</a:t>
            </a:r>
          </a:p>
          <a:p>
            <a:pPr lvl="2"/>
            <a:r>
              <a:rPr lang="en-US"/>
              <a:t>Third level</a:t>
            </a:r>
          </a:p>
        </p:txBody>
      </p:sp>
      <p:pic>
        <p:nvPicPr>
          <p:cNvPr id="8" name="Picture 7">
            <a:extLst>
              <a:ext uri="{FF2B5EF4-FFF2-40B4-BE49-F238E27FC236}">
                <a16:creationId xmlns:a16="http://schemas.microsoft.com/office/drawing/2014/main" id="{5601766E-48B4-D441-AFC1-1CE95AEC9FB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258985300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a:effectLst/>
      </p:grpSpPr>
      <p:pic>
        <p:nvPicPr>
          <p:cNvPr id="4" name="Picture 3"/>
          <p:cNvPicPr>
            <a:picLocks noChangeAspect="1"/>
          </p:cNvPicPr>
          <p:nvPr/>
        </p:nvPicPr>
        <p:blipFill rotWithShape="1">
          <a:blip r:embed="rId2">
            <a:extLst>
              <a:ext uri="{28A0092B-C50C-407E-A947-70E740481C1C}">
                <a14:useLocalDpi xmlns:a14="http://schemas.microsoft.com/office/drawing/2010/main"/>
              </a:ext>
            </a:extLst>
          </a:blip>
          <a:srcRect t="12167" r="18723" b="6227"/>
          <a:stretch/>
        </p:blipFill>
        <p:spPr>
          <a:xfrm>
            <a:off x="0" y="0"/>
            <a:ext cx="12192000" cy="6858000"/>
          </a:xfrm>
          <a:prstGeom prst="rect">
            <a:avLst/>
          </a:prstGeom>
          <a:effectLst/>
        </p:spPr>
      </p:pic>
      <p:sp>
        <p:nvSpPr>
          <p:cNvPr id="2" name="Title 1"/>
          <p:cNvSpPr>
            <a:spLocks noGrp="1"/>
          </p:cNvSpPr>
          <p:nvPr>
            <p:ph type="ctrTitle"/>
          </p:nvPr>
        </p:nvSpPr>
        <p:spPr>
          <a:xfrm>
            <a:off x="381995" y="2945417"/>
            <a:ext cx="3717181" cy="2083955"/>
          </a:xfrm>
          <a:prstGeom prst="rect">
            <a:avLst/>
          </a:prstGeom>
          <a:effectLst/>
        </p:spPr>
        <p:txBody>
          <a:bodyPr lIns="45720" tIns="45720" rIns="45720" bIns="45720" anchor="b" anchorCtr="0">
            <a:normAutofit/>
          </a:bodyPr>
          <a:lstStyle>
            <a:lvl1pPr algn="l">
              <a:defRPr sz="4175" b="1" cap="all" baseline="0">
                <a:solidFill>
                  <a:schemeClr val="bg1"/>
                </a:solidFill>
                <a:effectLst/>
                <a:latin typeface="+mj-lt"/>
              </a:defRPr>
            </a:lvl1pPr>
          </a:lstStyle>
          <a:p>
            <a:r>
              <a:rPr lang="en-US">
                <a:effectLst/>
              </a:rPr>
              <a:t>Click to edit Master title style</a:t>
            </a:r>
          </a:p>
        </p:txBody>
      </p:sp>
      <p:sp>
        <p:nvSpPr>
          <p:cNvPr id="3" name="Subtitle 2"/>
          <p:cNvSpPr>
            <a:spLocks noGrp="1"/>
          </p:cNvSpPr>
          <p:nvPr>
            <p:ph type="subTitle" idx="1"/>
          </p:nvPr>
        </p:nvSpPr>
        <p:spPr>
          <a:xfrm>
            <a:off x="390675" y="5029370"/>
            <a:ext cx="3708499" cy="529588"/>
          </a:xfrm>
          <a:prstGeom prst="rect">
            <a:avLst/>
          </a:prstGeom>
          <a:effectLst/>
        </p:spPr>
        <p:txBody>
          <a:bodyPr lIns="45720" rIns="45720" anchor="t">
            <a:normAutofit/>
          </a:bodyPr>
          <a:lstStyle>
            <a:lvl1pPr marL="0" indent="0" algn="l">
              <a:buNone/>
              <a:defRPr sz="1899" cap="all" baseline="0">
                <a:solidFill>
                  <a:schemeClr val="bg1"/>
                </a:solidFill>
                <a:effectLst/>
                <a:latin typeface="+mn-lt"/>
              </a:defRPr>
            </a:lvl1pPr>
            <a:lvl2pPr marL="465754" indent="0" algn="ctr">
              <a:buNone/>
              <a:defRPr>
                <a:solidFill>
                  <a:schemeClr val="tx1">
                    <a:tint val="75000"/>
                  </a:schemeClr>
                </a:solidFill>
                <a:effectLst/>
              </a:defRPr>
            </a:lvl2pPr>
            <a:lvl3pPr marL="931507" indent="0" algn="ctr">
              <a:buNone/>
              <a:defRPr>
                <a:solidFill>
                  <a:schemeClr val="tx1">
                    <a:tint val="75000"/>
                  </a:schemeClr>
                </a:solidFill>
                <a:effectLst/>
              </a:defRPr>
            </a:lvl3pPr>
            <a:lvl4pPr marL="1397261" indent="0" algn="ctr">
              <a:buNone/>
              <a:defRPr>
                <a:solidFill>
                  <a:schemeClr val="tx1">
                    <a:tint val="75000"/>
                  </a:schemeClr>
                </a:solidFill>
                <a:effectLst/>
              </a:defRPr>
            </a:lvl4pPr>
            <a:lvl5pPr marL="1863014" indent="0" algn="ctr">
              <a:buNone/>
              <a:defRPr>
                <a:solidFill>
                  <a:schemeClr val="tx1">
                    <a:tint val="75000"/>
                  </a:schemeClr>
                </a:solidFill>
                <a:effectLst/>
              </a:defRPr>
            </a:lvl5pPr>
            <a:lvl6pPr marL="2328768" indent="0" algn="ctr">
              <a:buNone/>
              <a:defRPr>
                <a:solidFill>
                  <a:schemeClr val="tx1">
                    <a:tint val="75000"/>
                  </a:schemeClr>
                </a:solidFill>
                <a:effectLst/>
              </a:defRPr>
            </a:lvl6pPr>
            <a:lvl7pPr marL="2794521" indent="0" algn="ctr">
              <a:buNone/>
              <a:defRPr>
                <a:solidFill>
                  <a:schemeClr val="tx1">
                    <a:tint val="75000"/>
                  </a:schemeClr>
                </a:solidFill>
                <a:effectLst/>
              </a:defRPr>
            </a:lvl7pPr>
            <a:lvl8pPr marL="3260277" indent="0" algn="ctr">
              <a:buNone/>
              <a:defRPr>
                <a:solidFill>
                  <a:schemeClr val="tx1">
                    <a:tint val="75000"/>
                  </a:schemeClr>
                </a:solidFill>
                <a:effectLst/>
              </a:defRPr>
            </a:lvl8pPr>
            <a:lvl9pPr marL="3726029" indent="0" algn="ctr">
              <a:buNone/>
              <a:defRPr>
                <a:solidFill>
                  <a:schemeClr val="tx1">
                    <a:tint val="75000"/>
                  </a:schemeClr>
                </a:solidFill>
                <a:effectLst/>
              </a:defRPr>
            </a:lvl9pPr>
          </a:lstStyle>
          <a:p>
            <a:r>
              <a:rPr lang="en-US">
                <a:effectLst/>
              </a:rPr>
              <a:t>Click to edit Master subtitle style</a:t>
            </a:r>
          </a:p>
        </p:txBody>
      </p:sp>
    </p:spTree>
    <p:extLst>
      <p:ext uri="{BB962C8B-B14F-4D97-AF65-F5344CB8AC3E}">
        <p14:creationId xmlns:p14="http://schemas.microsoft.com/office/powerpoint/2010/main" val="3513255139"/>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pPr/>
              <a:t>4/17/2023</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346128" y="352426"/>
            <a:ext cx="1257300" cy="723900"/>
          </a:xfrm>
          <a:prstGeom prst="rect">
            <a:avLst/>
          </a:prstGeom>
        </p:spPr>
      </p:pic>
    </p:spTree>
    <p:extLst>
      <p:ext uri="{BB962C8B-B14F-4D97-AF65-F5344CB8AC3E}">
        <p14:creationId xmlns:p14="http://schemas.microsoft.com/office/powerpoint/2010/main" val="1678262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pPr/>
              <a:t>4/17/2023</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346128" y="352426"/>
            <a:ext cx="1257300" cy="723900"/>
          </a:xfrm>
          <a:prstGeom prst="rect">
            <a:avLst/>
          </a:prstGeom>
        </p:spPr>
      </p:pic>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endParaRPr lang="en-US"/>
          </a:p>
        </p:txBody>
      </p:sp>
    </p:spTree>
    <p:extLst>
      <p:ext uri="{BB962C8B-B14F-4D97-AF65-F5344CB8AC3E}">
        <p14:creationId xmlns:p14="http://schemas.microsoft.com/office/powerpoint/2010/main" val="20471360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07282813-90A4-B841-8DAA-4B00E2E34CD3}" type="datetimeFigureOut">
              <a:rPr lang="en-US" smtClean="0"/>
              <a:pPr/>
              <a:t>4/17/2023</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5467350" y="352426"/>
            <a:ext cx="1257300" cy="723900"/>
          </a:xfrm>
          <a:prstGeom prst="rect">
            <a:avLst/>
          </a:prstGeom>
        </p:spPr>
      </p:pic>
    </p:spTree>
    <p:extLst>
      <p:ext uri="{BB962C8B-B14F-4D97-AF65-F5344CB8AC3E}">
        <p14:creationId xmlns:p14="http://schemas.microsoft.com/office/powerpoint/2010/main" val="29325859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4/17/2023</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a:t>
            </a:r>
          </a:p>
        </p:txBody>
      </p:sp>
    </p:spTree>
    <p:extLst>
      <p:ext uri="{BB962C8B-B14F-4D97-AF65-F5344CB8AC3E}">
        <p14:creationId xmlns:p14="http://schemas.microsoft.com/office/powerpoint/2010/main" val="33887578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2900" y="1709738"/>
            <a:ext cx="11487150" cy="1719262"/>
          </a:xfrm>
        </p:spPr>
        <p:txBody>
          <a:bodyPr anchor="b">
            <a:normAutofit/>
          </a:bodyPr>
          <a:lstStyle>
            <a:lvl1pPr>
              <a:defRPr sz="4000"/>
            </a:lvl1pPr>
          </a:lstStyle>
          <a:p>
            <a:r>
              <a:rPr lang="en-US"/>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4/17/2023</a:t>
            </a:fld>
            <a:endParaRPr lang="en-US"/>
          </a:p>
        </p:txBody>
      </p:sp>
      <p:pic>
        <p:nvPicPr>
          <p:cNvPr id="9" name="Picture 8" descr="A picture containing drawing&#10;&#10;Description automatically generated">
            <a:extLst>
              <a:ext uri="{FF2B5EF4-FFF2-40B4-BE49-F238E27FC236}">
                <a16:creationId xmlns:a16="http://schemas.microsoft.com/office/drawing/2014/main" id="{CA0D1638-E465-4847-88FD-FBE4F1ED3C90}"/>
              </a:ext>
            </a:extLst>
          </p:cNvPr>
          <p:cNvPicPr>
            <a:picLocks noChangeAspect="1"/>
          </p:cNvPicPr>
          <p:nvPr userDrawn="1"/>
        </p:nvPicPr>
        <p:blipFill>
          <a:blip r:embed="rId2"/>
          <a:stretch>
            <a:fillRect/>
          </a:stretch>
        </p:blipFill>
        <p:spPr>
          <a:xfrm>
            <a:off x="346128" y="352426"/>
            <a:ext cx="1257300" cy="723900"/>
          </a:xfrm>
          <a:prstGeom prst="rect">
            <a:avLst/>
          </a:prstGeom>
        </p:spPr>
      </p:pic>
    </p:spTree>
    <p:extLst>
      <p:ext uri="{BB962C8B-B14F-4D97-AF65-F5344CB8AC3E}">
        <p14:creationId xmlns:p14="http://schemas.microsoft.com/office/powerpoint/2010/main" val="23899466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4/17/2023</a:t>
            </a:fld>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endParaRPr lang="en-US"/>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459019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4/17/2023</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22556822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7282813-90A4-B841-8DAA-4B00E2E34CD3}" type="datetimeFigureOut">
              <a:rPr lang="en-US" smtClean="0"/>
              <a:t>4/17/2023</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8932971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282813-90A4-B841-8DAA-4B00E2E34CD3}" type="datetimeFigureOut">
              <a:rPr lang="en-US" smtClean="0"/>
              <a:t>4/17/2023</a:t>
            </a:fld>
            <a:endParaRPr lang="en-US"/>
          </a:p>
        </p:txBody>
      </p:sp>
    </p:spTree>
    <p:extLst>
      <p:ext uri="{BB962C8B-B14F-4D97-AF65-F5344CB8AC3E}">
        <p14:creationId xmlns:p14="http://schemas.microsoft.com/office/powerpoint/2010/main" val="38299696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62184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 Dk Red">
    <p:bg>
      <p:bgPr>
        <a:solidFill>
          <a:schemeClr val="accent3"/>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802A15F-C948-764C-B86C-5C904950A48C}"/>
              </a:ext>
            </a:extLst>
          </p:cNvPr>
          <p:cNvSpPr>
            <a:spLocks noGrp="1"/>
          </p:cNvSpPr>
          <p:nvPr userDrawn="1">
            <p:ph type="body" sz="quarter" idx="10"/>
          </p:nvPr>
        </p:nvSpPr>
        <p:spPr>
          <a:xfrm>
            <a:off x="767509" y="2079133"/>
            <a:ext cx="10656982" cy="1182734"/>
          </a:xfrm>
        </p:spPr>
        <p:txBody>
          <a:bodyPr>
            <a:normAutofit/>
          </a:bodyPr>
          <a:lstStyle>
            <a:lvl1pPr marL="0" indent="0" algn="ctr">
              <a:buNone/>
              <a:defRPr sz="5127" b="1">
                <a:solidFill>
                  <a:schemeClr val="bg1"/>
                </a:solidFill>
              </a:defRPr>
            </a:lvl1pPr>
          </a:lstStyle>
          <a:p>
            <a:pPr lvl="0"/>
            <a:r>
              <a:rPr lang="en-US"/>
              <a:t>Edit Master text styles</a:t>
            </a:r>
          </a:p>
        </p:txBody>
      </p:sp>
      <p:sp>
        <p:nvSpPr>
          <p:cNvPr id="6" name="Text Placeholder 3">
            <a:extLst>
              <a:ext uri="{FF2B5EF4-FFF2-40B4-BE49-F238E27FC236}">
                <a16:creationId xmlns:a16="http://schemas.microsoft.com/office/drawing/2014/main" id="{D05DE4B8-41A9-3147-9BFB-3C66B4CD6D89}"/>
              </a:ext>
            </a:extLst>
          </p:cNvPr>
          <p:cNvSpPr>
            <a:spLocks noGrp="1"/>
          </p:cNvSpPr>
          <p:nvPr userDrawn="1">
            <p:ph type="body" sz="quarter" idx="11"/>
          </p:nvPr>
        </p:nvSpPr>
        <p:spPr>
          <a:xfrm>
            <a:off x="767509" y="3261867"/>
            <a:ext cx="10656982" cy="1182734"/>
          </a:xfrm>
        </p:spPr>
        <p:txBody>
          <a:bodyPr>
            <a:normAutofit/>
          </a:bodyPr>
          <a:lstStyle>
            <a:lvl1pPr marL="0" indent="0" algn="ctr">
              <a:buNone/>
              <a:defRPr sz="3038" b="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94CEB44B-DDC5-8641-A07D-856C15F35C00}"/>
              </a:ext>
            </a:extLst>
          </p:cNvPr>
          <p:cNvGrpSpPr/>
          <p:nvPr userDrawn="1"/>
        </p:nvGrpSpPr>
        <p:grpSpPr>
          <a:xfrm>
            <a:off x="2895249" y="1031973"/>
            <a:ext cx="6400869" cy="4794057"/>
            <a:chOff x="3049434" y="1086914"/>
            <a:chExt cx="6741749" cy="5049296"/>
          </a:xfrm>
        </p:grpSpPr>
        <p:sp>
          <p:nvSpPr>
            <p:cNvPr id="8" name="Freeform 7">
              <a:extLst>
                <a:ext uri="{FF2B5EF4-FFF2-40B4-BE49-F238E27FC236}">
                  <a16:creationId xmlns:a16="http://schemas.microsoft.com/office/drawing/2014/main" id="{36AA2089-9E6C-7149-AF25-C7588686F223}"/>
                </a:ext>
              </a:extLst>
            </p:cNvPr>
            <p:cNvSpPr>
              <a:spLocks noChangeArrowheads="1"/>
            </p:cNvSpPr>
            <p:nvPr/>
          </p:nvSpPr>
          <p:spPr bwMode="auto">
            <a:xfrm>
              <a:off x="3693267" y="1937932"/>
              <a:ext cx="1157338" cy="3570041"/>
            </a:xfrm>
            <a:custGeom>
              <a:avLst/>
              <a:gdLst>
                <a:gd name="T0" fmla="*/ 2065 w 4583"/>
                <a:gd name="T1" fmla="*/ 14101 h 14132"/>
                <a:gd name="T2" fmla="*/ 1743 w 4583"/>
                <a:gd name="T3" fmla="*/ 13981 h 14132"/>
                <a:gd name="T4" fmla="*/ 1513 w 4583"/>
                <a:gd name="T5" fmla="*/ 13910 h 14132"/>
                <a:gd name="T6" fmla="*/ 1276 w 4583"/>
                <a:gd name="T7" fmla="*/ 13956 h 14132"/>
                <a:gd name="T8" fmla="*/ 784 w 4583"/>
                <a:gd name="T9" fmla="*/ 14036 h 14132"/>
                <a:gd name="T10" fmla="*/ 402 w 4583"/>
                <a:gd name="T11" fmla="*/ 13870 h 14132"/>
                <a:gd name="T12" fmla="*/ 166 w 4583"/>
                <a:gd name="T13" fmla="*/ 13453 h 14132"/>
                <a:gd name="T14" fmla="*/ 30 w 4583"/>
                <a:gd name="T15" fmla="*/ 12956 h 14132"/>
                <a:gd name="T16" fmla="*/ 0 w 4583"/>
                <a:gd name="T17" fmla="*/ 12378 h 14132"/>
                <a:gd name="T18" fmla="*/ 166 w 4583"/>
                <a:gd name="T19" fmla="*/ 7049 h 14132"/>
                <a:gd name="T20" fmla="*/ 60 w 4583"/>
                <a:gd name="T21" fmla="*/ 6762 h 14132"/>
                <a:gd name="T22" fmla="*/ 51 w 4583"/>
                <a:gd name="T23" fmla="*/ 6445 h 14132"/>
                <a:gd name="T24" fmla="*/ 256 w 4583"/>
                <a:gd name="T25" fmla="*/ 5793 h 14132"/>
                <a:gd name="T26" fmla="*/ 272 w 4583"/>
                <a:gd name="T27" fmla="*/ 5667 h 14132"/>
                <a:gd name="T28" fmla="*/ 116 w 4583"/>
                <a:gd name="T29" fmla="*/ 5396 h 14132"/>
                <a:gd name="T30" fmla="*/ 71 w 4583"/>
                <a:gd name="T31" fmla="*/ 4969 h 14132"/>
                <a:gd name="T32" fmla="*/ 116 w 4583"/>
                <a:gd name="T33" fmla="*/ 4522 h 14132"/>
                <a:gd name="T34" fmla="*/ 910 w 4583"/>
                <a:gd name="T35" fmla="*/ 2708 h 14132"/>
                <a:gd name="T36" fmla="*/ 1261 w 4583"/>
                <a:gd name="T37" fmla="*/ 2155 h 14132"/>
                <a:gd name="T38" fmla="*/ 1412 w 4583"/>
                <a:gd name="T39" fmla="*/ 1884 h 14132"/>
                <a:gd name="T40" fmla="*/ 1467 w 4583"/>
                <a:gd name="T41" fmla="*/ 1568 h 14132"/>
                <a:gd name="T42" fmla="*/ 1492 w 4583"/>
                <a:gd name="T43" fmla="*/ 1065 h 14132"/>
                <a:gd name="T44" fmla="*/ 1452 w 4583"/>
                <a:gd name="T45" fmla="*/ 879 h 14132"/>
                <a:gd name="T46" fmla="*/ 1367 w 4583"/>
                <a:gd name="T47" fmla="*/ 699 h 14132"/>
                <a:gd name="T48" fmla="*/ 1382 w 4583"/>
                <a:gd name="T49" fmla="*/ 302 h 14132"/>
                <a:gd name="T50" fmla="*/ 1447 w 4583"/>
                <a:gd name="T51" fmla="*/ 146 h 14132"/>
                <a:gd name="T52" fmla="*/ 1558 w 4583"/>
                <a:gd name="T53" fmla="*/ 81 h 14132"/>
                <a:gd name="T54" fmla="*/ 2291 w 4583"/>
                <a:gd name="T55" fmla="*/ 0 h 14132"/>
                <a:gd name="T56" fmla="*/ 3025 w 4583"/>
                <a:gd name="T57" fmla="*/ 81 h 14132"/>
                <a:gd name="T58" fmla="*/ 3115 w 4583"/>
                <a:gd name="T59" fmla="*/ 131 h 14132"/>
                <a:gd name="T60" fmla="*/ 3175 w 4583"/>
                <a:gd name="T61" fmla="*/ 216 h 14132"/>
                <a:gd name="T62" fmla="*/ 3226 w 4583"/>
                <a:gd name="T63" fmla="*/ 623 h 14132"/>
                <a:gd name="T64" fmla="*/ 3150 w 4583"/>
                <a:gd name="T65" fmla="*/ 859 h 14132"/>
                <a:gd name="T66" fmla="*/ 3095 w 4583"/>
                <a:gd name="T67" fmla="*/ 1000 h 14132"/>
                <a:gd name="T68" fmla="*/ 3110 w 4583"/>
                <a:gd name="T69" fmla="*/ 1537 h 14132"/>
                <a:gd name="T70" fmla="*/ 3150 w 4583"/>
                <a:gd name="T71" fmla="*/ 1809 h 14132"/>
                <a:gd name="T72" fmla="*/ 3321 w 4583"/>
                <a:gd name="T73" fmla="*/ 2155 h 14132"/>
                <a:gd name="T74" fmla="*/ 3602 w 4583"/>
                <a:gd name="T75" fmla="*/ 2577 h 14132"/>
                <a:gd name="T76" fmla="*/ 4175 w 4583"/>
                <a:gd name="T77" fmla="*/ 3808 h 14132"/>
                <a:gd name="T78" fmla="*/ 4512 w 4583"/>
                <a:gd name="T79" fmla="*/ 4858 h 14132"/>
                <a:gd name="T80" fmla="*/ 4467 w 4583"/>
                <a:gd name="T81" fmla="*/ 5396 h 14132"/>
                <a:gd name="T82" fmla="*/ 4316 w 4583"/>
                <a:gd name="T83" fmla="*/ 5637 h 14132"/>
                <a:gd name="T84" fmla="*/ 4326 w 4583"/>
                <a:gd name="T85" fmla="*/ 5793 h 14132"/>
                <a:gd name="T86" fmla="*/ 4522 w 4583"/>
                <a:gd name="T87" fmla="*/ 6375 h 14132"/>
                <a:gd name="T88" fmla="*/ 4532 w 4583"/>
                <a:gd name="T89" fmla="*/ 6702 h 14132"/>
                <a:gd name="T90" fmla="*/ 4446 w 4583"/>
                <a:gd name="T91" fmla="*/ 6993 h 14132"/>
                <a:gd name="T92" fmla="*/ 4582 w 4583"/>
                <a:gd name="T93" fmla="*/ 12378 h 14132"/>
                <a:gd name="T94" fmla="*/ 4567 w 4583"/>
                <a:gd name="T95" fmla="*/ 12845 h 14132"/>
                <a:gd name="T96" fmla="*/ 4451 w 4583"/>
                <a:gd name="T97" fmla="*/ 13358 h 14132"/>
                <a:gd name="T98" fmla="*/ 4235 w 4583"/>
                <a:gd name="T99" fmla="*/ 13790 h 14132"/>
                <a:gd name="T100" fmla="*/ 3904 w 4583"/>
                <a:gd name="T101" fmla="*/ 14015 h 14132"/>
                <a:gd name="T102" fmla="*/ 3401 w 4583"/>
                <a:gd name="T103" fmla="*/ 13996 h 14132"/>
                <a:gd name="T104" fmla="*/ 3130 w 4583"/>
                <a:gd name="T105" fmla="*/ 13910 h 14132"/>
                <a:gd name="T106" fmla="*/ 2838 w 4583"/>
                <a:gd name="T107" fmla="*/ 13981 h 14132"/>
                <a:gd name="T108" fmla="*/ 2587 w 4583"/>
                <a:gd name="T109" fmla="*/ 14086 h 1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83" h="14132">
                  <a:moveTo>
                    <a:pt x="2291" y="14131"/>
                  </a:moveTo>
                  <a:lnTo>
                    <a:pt x="2291" y="14131"/>
                  </a:lnTo>
                  <a:lnTo>
                    <a:pt x="2216" y="14127"/>
                  </a:lnTo>
                  <a:lnTo>
                    <a:pt x="2140" y="14116"/>
                  </a:lnTo>
                  <a:lnTo>
                    <a:pt x="2065" y="14101"/>
                  </a:lnTo>
                  <a:lnTo>
                    <a:pt x="1994" y="14086"/>
                  </a:lnTo>
                  <a:lnTo>
                    <a:pt x="1930" y="14066"/>
                  </a:lnTo>
                  <a:lnTo>
                    <a:pt x="1864" y="14041"/>
                  </a:lnTo>
                  <a:lnTo>
                    <a:pt x="1799" y="14011"/>
                  </a:lnTo>
                  <a:lnTo>
                    <a:pt x="1743" y="13981"/>
                  </a:lnTo>
                  <a:lnTo>
                    <a:pt x="1743" y="13981"/>
                  </a:lnTo>
                  <a:lnTo>
                    <a:pt x="1688" y="13951"/>
                  </a:lnTo>
                  <a:lnTo>
                    <a:pt x="1633" y="13931"/>
                  </a:lnTo>
                  <a:lnTo>
                    <a:pt x="1572" y="13915"/>
                  </a:lnTo>
                  <a:lnTo>
                    <a:pt x="1513" y="13910"/>
                  </a:lnTo>
                  <a:lnTo>
                    <a:pt x="1452" y="13910"/>
                  </a:lnTo>
                  <a:lnTo>
                    <a:pt x="1392" y="13920"/>
                  </a:lnTo>
                  <a:lnTo>
                    <a:pt x="1332" y="13935"/>
                  </a:lnTo>
                  <a:lnTo>
                    <a:pt x="1276" y="13956"/>
                  </a:lnTo>
                  <a:lnTo>
                    <a:pt x="1276" y="13956"/>
                  </a:lnTo>
                  <a:lnTo>
                    <a:pt x="1181" y="13996"/>
                  </a:lnTo>
                  <a:lnTo>
                    <a:pt x="1086" y="14026"/>
                  </a:lnTo>
                  <a:lnTo>
                    <a:pt x="985" y="14041"/>
                  </a:lnTo>
                  <a:lnTo>
                    <a:pt x="884" y="14046"/>
                  </a:lnTo>
                  <a:lnTo>
                    <a:pt x="784" y="14036"/>
                  </a:lnTo>
                  <a:lnTo>
                    <a:pt x="678" y="14015"/>
                  </a:lnTo>
                  <a:lnTo>
                    <a:pt x="568" y="13986"/>
                  </a:lnTo>
                  <a:lnTo>
                    <a:pt x="462" y="13940"/>
                  </a:lnTo>
                  <a:lnTo>
                    <a:pt x="462" y="13940"/>
                  </a:lnTo>
                  <a:lnTo>
                    <a:pt x="402" y="13870"/>
                  </a:lnTo>
                  <a:lnTo>
                    <a:pt x="347" y="13790"/>
                  </a:lnTo>
                  <a:lnTo>
                    <a:pt x="297" y="13709"/>
                  </a:lnTo>
                  <a:lnTo>
                    <a:pt x="247" y="13629"/>
                  </a:lnTo>
                  <a:lnTo>
                    <a:pt x="206" y="13543"/>
                  </a:lnTo>
                  <a:lnTo>
                    <a:pt x="166" y="13453"/>
                  </a:lnTo>
                  <a:lnTo>
                    <a:pt x="131" y="13358"/>
                  </a:lnTo>
                  <a:lnTo>
                    <a:pt x="101" y="13262"/>
                  </a:lnTo>
                  <a:lnTo>
                    <a:pt x="71" y="13162"/>
                  </a:lnTo>
                  <a:lnTo>
                    <a:pt x="51" y="13061"/>
                  </a:lnTo>
                  <a:lnTo>
                    <a:pt x="30" y="12956"/>
                  </a:lnTo>
                  <a:lnTo>
                    <a:pt x="15" y="12845"/>
                  </a:lnTo>
                  <a:lnTo>
                    <a:pt x="5" y="12735"/>
                  </a:lnTo>
                  <a:lnTo>
                    <a:pt x="0" y="12619"/>
                  </a:lnTo>
                  <a:lnTo>
                    <a:pt x="0" y="12498"/>
                  </a:lnTo>
                  <a:lnTo>
                    <a:pt x="0" y="12378"/>
                  </a:lnTo>
                  <a:lnTo>
                    <a:pt x="231" y="11805"/>
                  </a:lnTo>
                  <a:lnTo>
                    <a:pt x="231" y="7153"/>
                  </a:lnTo>
                  <a:lnTo>
                    <a:pt x="231" y="7153"/>
                  </a:lnTo>
                  <a:lnTo>
                    <a:pt x="196" y="7099"/>
                  </a:lnTo>
                  <a:lnTo>
                    <a:pt x="166" y="7049"/>
                  </a:lnTo>
                  <a:lnTo>
                    <a:pt x="141" y="6993"/>
                  </a:lnTo>
                  <a:lnTo>
                    <a:pt x="116" y="6938"/>
                  </a:lnTo>
                  <a:lnTo>
                    <a:pt x="96" y="6883"/>
                  </a:lnTo>
                  <a:lnTo>
                    <a:pt x="76" y="6822"/>
                  </a:lnTo>
                  <a:lnTo>
                    <a:pt x="60" y="6762"/>
                  </a:lnTo>
                  <a:lnTo>
                    <a:pt x="55" y="6702"/>
                  </a:lnTo>
                  <a:lnTo>
                    <a:pt x="46" y="6641"/>
                  </a:lnTo>
                  <a:lnTo>
                    <a:pt x="46" y="6576"/>
                  </a:lnTo>
                  <a:lnTo>
                    <a:pt x="46" y="6511"/>
                  </a:lnTo>
                  <a:lnTo>
                    <a:pt x="51" y="6445"/>
                  </a:lnTo>
                  <a:lnTo>
                    <a:pt x="60" y="6375"/>
                  </a:lnTo>
                  <a:lnTo>
                    <a:pt x="76" y="6305"/>
                  </a:lnTo>
                  <a:lnTo>
                    <a:pt x="96" y="6235"/>
                  </a:lnTo>
                  <a:lnTo>
                    <a:pt x="116" y="6160"/>
                  </a:lnTo>
                  <a:lnTo>
                    <a:pt x="256" y="5793"/>
                  </a:lnTo>
                  <a:lnTo>
                    <a:pt x="256" y="5793"/>
                  </a:lnTo>
                  <a:lnTo>
                    <a:pt x="267" y="5763"/>
                  </a:lnTo>
                  <a:lnTo>
                    <a:pt x="272" y="5732"/>
                  </a:lnTo>
                  <a:lnTo>
                    <a:pt x="277" y="5702"/>
                  </a:lnTo>
                  <a:lnTo>
                    <a:pt x="272" y="5667"/>
                  </a:lnTo>
                  <a:lnTo>
                    <a:pt x="267" y="5637"/>
                  </a:lnTo>
                  <a:lnTo>
                    <a:pt x="256" y="5607"/>
                  </a:lnTo>
                  <a:lnTo>
                    <a:pt x="247" y="5576"/>
                  </a:lnTo>
                  <a:lnTo>
                    <a:pt x="226" y="5551"/>
                  </a:lnTo>
                  <a:lnTo>
                    <a:pt x="116" y="5396"/>
                  </a:lnTo>
                  <a:lnTo>
                    <a:pt x="116" y="5396"/>
                  </a:lnTo>
                  <a:lnTo>
                    <a:pt x="96" y="5290"/>
                  </a:lnTo>
                  <a:lnTo>
                    <a:pt x="80" y="5185"/>
                  </a:lnTo>
                  <a:lnTo>
                    <a:pt x="71" y="5079"/>
                  </a:lnTo>
                  <a:lnTo>
                    <a:pt x="71" y="4969"/>
                  </a:lnTo>
                  <a:lnTo>
                    <a:pt x="71" y="4858"/>
                  </a:lnTo>
                  <a:lnTo>
                    <a:pt x="80" y="4748"/>
                  </a:lnTo>
                  <a:lnTo>
                    <a:pt x="96" y="4632"/>
                  </a:lnTo>
                  <a:lnTo>
                    <a:pt x="116" y="4522"/>
                  </a:lnTo>
                  <a:lnTo>
                    <a:pt x="116" y="4522"/>
                  </a:lnTo>
                  <a:lnTo>
                    <a:pt x="407" y="3808"/>
                  </a:lnTo>
                  <a:lnTo>
                    <a:pt x="553" y="3466"/>
                  </a:lnTo>
                  <a:lnTo>
                    <a:pt x="694" y="3145"/>
                  </a:lnTo>
                  <a:lnTo>
                    <a:pt x="840" y="2848"/>
                  </a:lnTo>
                  <a:lnTo>
                    <a:pt x="910" y="2708"/>
                  </a:lnTo>
                  <a:lnTo>
                    <a:pt x="980" y="2577"/>
                  </a:lnTo>
                  <a:lnTo>
                    <a:pt x="1050" y="2457"/>
                  </a:lnTo>
                  <a:lnTo>
                    <a:pt x="1121" y="2346"/>
                  </a:lnTo>
                  <a:lnTo>
                    <a:pt x="1191" y="2246"/>
                  </a:lnTo>
                  <a:lnTo>
                    <a:pt x="1261" y="2155"/>
                  </a:lnTo>
                  <a:lnTo>
                    <a:pt x="1261" y="2155"/>
                  </a:lnTo>
                  <a:lnTo>
                    <a:pt x="1312" y="2090"/>
                  </a:lnTo>
                  <a:lnTo>
                    <a:pt x="1351" y="2025"/>
                  </a:lnTo>
                  <a:lnTo>
                    <a:pt x="1382" y="1954"/>
                  </a:lnTo>
                  <a:lnTo>
                    <a:pt x="1412" y="1884"/>
                  </a:lnTo>
                  <a:lnTo>
                    <a:pt x="1432" y="1809"/>
                  </a:lnTo>
                  <a:lnTo>
                    <a:pt x="1452" y="1733"/>
                  </a:lnTo>
                  <a:lnTo>
                    <a:pt x="1462" y="1653"/>
                  </a:lnTo>
                  <a:lnTo>
                    <a:pt x="1467" y="1568"/>
                  </a:lnTo>
                  <a:lnTo>
                    <a:pt x="1467" y="1568"/>
                  </a:lnTo>
                  <a:lnTo>
                    <a:pt x="1472" y="1537"/>
                  </a:lnTo>
                  <a:lnTo>
                    <a:pt x="1477" y="1472"/>
                  </a:lnTo>
                  <a:lnTo>
                    <a:pt x="1482" y="1301"/>
                  </a:lnTo>
                  <a:lnTo>
                    <a:pt x="1492" y="1065"/>
                  </a:lnTo>
                  <a:lnTo>
                    <a:pt x="1492" y="1065"/>
                  </a:lnTo>
                  <a:lnTo>
                    <a:pt x="1487" y="1000"/>
                  </a:lnTo>
                  <a:lnTo>
                    <a:pt x="1487" y="965"/>
                  </a:lnTo>
                  <a:lnTo>
                    <a:pt x="1477" y="934"/>
                  </a:lnTo>
                  <a:lnTo>
                    <a:pt x="1467" y="904"/>
                  </a:lnTo>
                  <a:lnTo>
                    <a:pt x="1452" y="879"/>
                  </a:lnTo>
                  <a:lnTo>
                    <a:pt x="1432" y="859"/>
                  </a:lnTo>
                  <a:lnTo>
                    <a:pt x="1407" y="839"/>
                  </a:lnTo>
                  <a:lnTo>
                    <a:pt x="1407" y="839"/>
                  </a:lnTo>
                  <a:lnTo>
                    <a:pt x="1382" y="769"/>
                  </a:lnTo>
                  <a:lnTo>
                    <a:pt x="1367" y="699"/>
                  </a:lnTo>
                  <a:lnTo>
                    <a:pt x="1357" y="623"/>
                  </a:lnTo>
                  <a:lnTo>
                    <a:pt x="1351" y="548"/>
                  </a:lnTo>
                  <a:lnTo>
                    <a:pt x="1351" y="467"/>
                  </a:lnTo>
                  <a:lnTo>
                    <a:pt x="1367" y="387"/>
                  </a:lnTo>
                  <a:lnTo>
                    <a:pt x="1382" y="302"/>
                  </a:lnTo>
                  <a:lnTo>
                    <a:pt x="1407" y="216"/>
                  </a:lnTo>
                  <a:lnTo>
                    <a:pt x="1407" y="216"/>
                  </a:lnTo>
                  <a:lnTo>
                    <a:pt x="1417" y="191"/>
                  </a:lnTo>
                  <a:lnTo>
                    <a:pt x="1432" y="171"/>
                  </a:lnTo>
                  <a:lnTo>
                    <a:pt x="1447" y="146"/>
                  </a:lnTo>
                  <a:lnTo>
                    <a:pt x="1467" y="131"/>
                  </a:lnTo>
                  <a:lnTo>
                    <a:pt x="1487" y="110"/>
                  </a:lnTo>
                  <a:lnTo>
                    <a:pt x="1508" y="101"/>
                  </a:lnTo>
                  <a:lnTo>
                    <a:pt x="1533" y="90"/>
                  </a:lnTo>
                  <a:lnTo>
                    <a:pt x="1558" y="81"/>
                  </a:lnTo>
                  <a:lnTo>
                    <a:pt x="1558" y="81"/>
                  </a:lnTo>
                  <a:lnTo>
                    <a:pt x="1723" y="55"/>
                  </a:lnTo>
                  <a:lnTo>
                    <a:pt x="1894" y="30"/>
                  </a:lnTo>
                  <a:lnTo>
                    <a:pt x="2085" y="15"/>
                  </a:lnTo>
                  <a:lnTo>
                    <a:pt x="2291" y="0"/>
                  </a:lnTo>
                  <a:lnTo>
                    <a:pt x="2291" y="0"/>
                  </a:lnTo>
                  <a:lnTo>
                    <a:pt x="2497" y="15"/>
                  </a:lnTo>
                  <a:lnTo>
                    <a:pt x="2688" y="30"/>
                  </a:lnTo>
                  <a:lnTo>
                    <a:pt x="2859" y="55"/>
                  </a:lnTo>
                  <a:lnTo>
                    <a:pt x="3025" y="81"/>
                  </a:lnTo>
                  <a:lnTo>
                    <a:pt x="3025" y="81"/>
                  </a:lnTo>
                  <a:lnTo>
                    <a:pt x="3050" y="90"/>
                  </a:lnTo>
                  <a:lnTo>
                    <a:pt x="3075" y="101"/>
                  </a:lnTo>
                  <a:lnTo>
                    <a:pt x="3095" y="110"/>
                  </a:lnTo>
                  <a:lnTo>
                    <a:pt x="3115" y="131"/>
                  </a:lnTo>
                  <a:lnTo>
                    <a:pt x="3135" y="146"/>
                  </a:lnTo>
                  <a:lnTo>
                    <a:pt x="3150" y="171"/>
                  </a:lnTo>
                  <a:lnTo>
                    <a:pt x="3165" y="191"/>
                  </a:lnTo>
                  <a:lnTo>
                    <a:pt x="3175" y="216"/>
                  </a:lnTo>
                  <a:lnTo>
                    <a:pt x="3175" y="216"/>
                  </a:lnTo>
                  <a:lnTo>
                    <a:pt x="3201" y="302"/>
                  </a:lnTo>
                  <a:lnTo>
                    <a:pt x="3221" y="387"/>
                  </a:lnTo>
                  <a:lnTo>
                    <a:pt x="3230" y="467"/>
                  </a:lnTo>
                  <a:lnTo>
                    <a:pt x="3230" y="548"/>
                  </a:lnTo>
                  <a:lnTo>
                    <a:pt x="3226" y="623"/>
                  </a:lnTo>
                  <a:lnTo>
                    <a:pt x="3215" y="699"/>
                  </a:lnTo>
                  <a:lnTo>
                    <a:pt x="3201" y="769"/>
                  </a:lnTo>
                  <a:lnTo>
                    <a:pt x="3175" y="839"/>
                  </a:lnTo>
                  <a:lnTo>
                    <a:pt x="3175" y="839"/>
                  </a:lnTo>
                  <a:lnTo>
                    <a:pt x="3150" y="859"/>
                  </a:lnTo>
                  <a:lnTo>
                    <a:pt x="3130" y="879"/>
                  </a:lnTo>
                  <a:lnTo>
                    <a:pt x="3115" y="904"/>
                  </a:lnTo>
                  <a:lnTo>
                    <a:pt x="3105" y="934"/>
                  </a:lnTo>
                  <a:lnTo>
                    <a:pt x="3095" y="965"/>
                  </a:lnTo>
                  <a:lnTo>
                    <a:pt x="3095" y="1000"/>
                  </a:lnTo>
                  <a:lnTo>
                    <a:pt x="3095" y="1065"/>
                  </a:lnTo>
                  <a:lnTo>
                    <a:pt x="3095" y="1065"/>
                  </a:lnTo>
                  <a:lnTo>
                    <a:pt x="3100" y="1301"/>
                  </a:lnTo>
                  <a:lnTo>
                    <a:pt x="3105" y="1472"/>
                  </a:lnTo>
                  <a:lnTo>
                    <a:pt x="3110" y="1537"/>
                  </a:lnTo>
                  <a:lnTo>
                    <a:pt x="3115" y="1568"/>
                  </a:lnTo>
                  <a:lnTo>
                    <a:pt x="3115" y="1568"/>
                  </a:lnTo>
                  <a:lnTo>
                    <a:pt x="3120" y="1653"/>
                  </a:lnTo>
                  <a:lnTo>
                    <a:pt x="3130" y="1733"/>
                  </a:lnTo>
                  <a:lnTo>
                    <a:pt x="3150" y="1809"/>
                  </a:lnTo>
                  <a:lnTo>
                    <a:pt x="3170" y="1884"/>
                  </a:lnTo>
                  <a:lnTo>
                    <a:pt x="3201" y="1954"/>
                  </a:lnTo>
                  <a:lnTo>
                    <a:pt x="3230" y="2025"/>
                  </a:lnTo>
                  <a:lnTo>
                    <a:pt x="3276" y="2090"/>
                  </a:lnTo>
                  <a:lnTo>
                    <a:pt x="3321" y="2155"/>
                  </a:lnTo>
                  <a:lnTo>
                    <a:pt x="3321" y="2155"/>
                  </a:lnTo>
                  <a:lnTo>
                    <a:pt x="3391" y="2246"/>
                  </a:lnTo>
                  <a:lnTo>
                    <a:pt x="3461" y="2346"/>
                  </a:lnTo>
                  <a:lnTo>
                    <a:pt x="3532" y="2457"/>
                  </a:lnTo>
                  <a:lnTo>
                    <a:pt x="3602" y="2577"/>
                  </a:lnTo>
                  <a:lnTo>
                    <a:pt x="3673" y="2708"/>
                  </a:lnTo>
                  <a:lnTo>
                    <a:pt x="3743" y="2848"/>
                  </a:lnTo>
                  <a:lnTo>
                    <a:pt x="3889" y="3145"/>
                  </a:lnTo>
                  <a:lnTo>
                    <a:pt x="4029" y="3466"/>
                  </a:lnTo>
                  <a:lnTo>
                    <a:pt x="4175" y="3808"/>
                  </a:lnTo>
                  <a:lnTo>
                    <a:pt x="4467" y="4522"/>
                  </a:lnTo>
                  <a:lnTo>
                    <a:pt x="4467" y="4522"/>
                  </a:lnTo>
                  <a:lnTo>
                    <a:pt x="4487" y="4632"/>
                  </a:lnTo>
                  <a:lnTo>
                    <a:pt x="4501" y="4748"/>
                  </a:lnTo>
                  <a:lnTo>
                    <a:pt x="4512" y="4858"/>
                  </a:lnTo>
                  <a:lnTo>
                    <a:pt x="4512" y="4969"/>
                  </a:lnTo>
                  <a:lnTo>
                    <a:pt x="4512" y="5079"/>
                  </a:lnTo>
                  <a:lnTo>
                    <a:pt x="4501" y="5185"/>
                  </a:lnTo>
                  <a:lnTo>
                    <a:pt x="4487" y="5290"/>
                  </a:lnTo>
                  <a:lnTo>
                    <a:pt x="4467" y="5396"/>
                  </a:lnTo>
                  <a:lnTo>
                    <a:pt x="4356" y="5551"/>
                  </a:lnTo>
                  <a:lnTo>
                    <a:pt x="4356" y="5551"/>
                  </a:lnTo>
                  <a:lnTo>
                    <a:pt x="4341" y="5576"/>
                  </a:lnTo>
                  <a:lnTo>
                    <a:pt x="4326" y="5607"/>
                  </a:lnTo>
                  <a:lnTo>
                    <a:pt x="4316" y="5637"/>
                  </a:lnTo>
                  <a:lnTo>
                    <a:pt x="4311" y="5667"/>
                  </a:lnTo>
                  <a:lnTo>
                    <a:pt x="4305" y="5702"/>
                  </a:lnTo>
                  <a:lnTo>
                    <a:pt x="4311" y="5732"/>
                  </a:lnTo>
                  <a:lnTo>
                    <a:pt x="4316" y="5763"/>
                  </a:lnTo>
                  <a:lnTo>
                    <a:pt x="4326" y="5793"/>
                  </a:lnTo>
                  <a:lnTo>
                    <a:pt x="4467" y="6160"/>
                  </a:lnTo>
                  <a:lnTo>
                    <a:pt x="4467" y="6160"/>
                  </a:lnTo>
                  <a:lnTo>
                    <a:pt x="4487" y="6235"/>
                  </a:lnTo>
                  <a:lnTo>
                    <a:pt x="4506" y="6305"/>
                  </a:lnTo>
                  <a:lnTo>
                    <a:pt x="4522" y="6375"/>
                  </a:lnTo>
                  <a:lnTo>
                    <a:pt x="4532" y="6445"/>
                  </a:lnTo>
                  <a:lnTo>
                    <a:pt x="4537" y="6511"/>
                  </a:lnTo>
                  <a:lnTo>
                    <a:pt x="4537" y="6576"/>
                  </a:lnTo>
                  <a:lnTo>
                    <a:pt x="4537" y="6641"/>
                  </a:lnTo>
                  <a:lnTo>
                    <a:pt x="4532" y="6702"/>
                  </a:lnTo>
                  <a:lnTo>
                    <a:pt x="4522" y="6762"/>
                  </a:lnTo>
                  <a:lnTo>
                    <a:pt x="4506" y="6822"/>
                  </a:lnTo>
                  <a:lnTo>
                    <a:pt x="4487" y="6883"/>
                  </a:lnTo>
                  <a:lnTo>
                    <a:pt x="4467" y="6938"/>
                  </a:lnTo>
                  <a:lnTo>
                    <a:pt x="4446" y="6993"/>
                  </a:lnTo>
                  <a:lnTo>
                    <a:pt x="4416" y="7049"/>
                  </a:lnTo>
                  <a:lnTo>
                    <a:pt x="4386" y="7099"/>
                  </a:lnTo>
                  <a:lnTo>
                    <a:pt x="4351" y="7153"/>
                  </a:lnTo>
                  <a:lnTo>
                    <a:pt x="4351" y="11805"/>
                  </a:lnTo>
                  <a:lnTo>
                    <a:pt x="4582" y="12378"/>
                  </a:lnTo>
                  <a:lnTo>
                    <a:pt x="4582" y="12378"/>
                  </a:lnTo>
                  <a:lnTo>
                    <a:pt x="4582" y="12498"/>
                  </a:lnTo>
                  <a:lnTo>
                    <a:pt x="4582" y="12619"/>
                  </a:lnTo>
                  <a:lnTo>
                    <a:pt x="4577" y="12735"/>
                  </a:lnTo>
                  <a:lnTo>
                    <a:pt x="4567" y="12845"/>
                  </a:lnTo>
                  <a:lnTo>
                    <a:pt x="4552" y="12956"/>
                  </a:lnTo>
                  <a:lnTo>
                    <a:pt x="4532" y="13061"/>
                  </a:lnTo>
                  <a:lnTo>
                    <a:pt x="4512" y="13162"/>
                  </a:lnTo>
                  <a:lnTo>
                    <a:pt x="4481" y="13262"/>
                  </a:lnTo>
                  <a:lnTo>
                    <a:pt x="4451" y="13358"/>
                  </a:lnTo>
                  <a:lnTo>
                    <a:pt x="4416" y="13453"/>
                  </a:lnTo>
                  <a:lnTo>
                    <a:pt x="4376" y="13543"/>
                  </a:lnTo>
                  <a:lnTo>
                    <a:pt x="4336" y="13629"/>
                  </a:lnTo>
                  <a:lnTo>
                    <a:pt x="4291" y="13709"/>
                  </a:lnTo>
                  <a:lnTo>
                    <a:pt x="4235" y="13790"/>
                  </a:lnTo>
                  <a:lnTo>
                    <a:pt x="4180" y="13870"/>
                  </a:lnTo>
                  <a:lnTo>
                    <a:pt x="4125" y="13940"/>
                  </a:lnTo>
                  <a:lnTo>
                    <a:pt x="4125" y="13940"/>
                  </a:lnTo>
                  <a:lnTo>
                    <a:pt x="4014" y="13986"/>
                  </a:lnTo>
                  <a:lnTo>
                    <a:pt x="3904" y="14015"/>
                  </a:lnTo>
                  <a:lnTo>
                    <a:pt x="3798" y="14036"/>
                  </a:lnTo>
                  <a:lnTo>
                    <a:pt x="3698" y="14046"/>
                  </a:lnTo>
                  <a:lnTo>
                    <a:pt x="3597" y="14041"/>
                  </a:lnTo>
                  <a:lnTo>
                    <a:pt x="3497" y="14026"/>
                  </a:lnTo>
                  <a:lnTo>
                    <a:pt x="3401" y="13996"/>
                  </a:lnTo>
                  <a:lnTo>
                    <a:pt x="3306" y="13956"/>
                  </a:lnTo>
                  <a:lnTo>
                    <a:pt x="3306" y="13956"/>
                  </a:lnTo>
                  <a:lnTo>
                    <a:pt x="3251" y="13935"/>
                  </a:lnTo>
                  <a:lnTo>
                    <a:pt x="3190" y="13920"/>
                  </a:lnTo>
                  <a:lnTo>
                    <a:pt x="3130" y="13910"/>
                  </a:lnTo>
                  <a:lnTo>
                    <a:pt x="3070" y="13910"/>
                  </a:lnTo>
                  <a:lnTo>
                    <a:pt x="3009" y="13915"/>
                  </a:lnTo>
                  <a:lnTo>
                    <a:pt x="2954" y="13931"/>
                  </a:lnTo>
                  <a:lnTo>
                    <a:pt x="2894" y="13951"/>
                  </a:lnTo>
                  <a:lnTo>
                    <a:pt x="2838" y="13981"/>
                  </a:lnTo>
                  <a:lnTo>
                    <a:pt x="2838" y="13981"/>
                  </a:lnTo>
                  <a:lnTo>
                    <a:pt x="2783" y="14011"/>
                  </a:lnTo>
                  <a:lnTo>
                    <a:pt x="2718" y="14041"/>
                  </a:lnTo>
                  <a:lnTo>
                    <a:pt x="2653" y="14066"/>
                  </a:lnTo>
                  <a:lnTo>
                    <a:pt x="2587" y="14086"/>
                  </a:lnTo>
                  <a:lnTo>
                    <a:pt x="2517" y="14101"/>
                  </a:lnTo>
                  <a:lnTo>
                    <a:pt x="2442" y="14116"/>
                  </a:lnTo>
                  <a:lnTo>
                    <a:pt x="2366" y="14127"/>
                  </a:lnTo>
                  <a:lnTo>
                    <a:pt x="2291" y="14131"/>
                  </a:lnTo>
                </a:path>
              </a:pathLst>
            </a:custGeom>
            <a:noFill/>
            <a:ln w="12700">
              <a:solidFill>
                <a:schemeClr val="bg1">
                  <a:alpha val="30000"/>
                </a:schemeClr>
              </a:solidFill>
            </a:ln>
            <a:effectLst/>
          </p:spPr>
          <p:txBody>
            <a:bodyPr wrap="none" anchor="ctr"/>
            <a:lstStyle/>
            <a:p>
              <a:endParaRPr lang="en-US" sz="1709"/>
            </a:p>
          </p:txBody>
        </p:sp>
        <p:sp>
          <p:nvSpPr>
            <p:cNvPr id="9" name="Freeform 8">
              <a:extLst>
                <a:ext uri="{FF2B5EF4-FFF2-40B4-BE49-F238E27FC236}">
                  <a16:creationId xmlns:a16="http://schemas.microsoft.com/office/drawing/2014/main" id="{B6AB1E3A-EE4F-1744-8651-378A4A59ED36}"/>
                </a:ext>
              </a:extLst>
            </p:cNvPr>
            <p:cNvSpPr>
              <a:spLocks noChangeArrowheads="1"/>
            </p:cNvSpPr>
            <p:nvPr/>
          </p:nvSpPr>
          <p:spPr bwMode="auto">
            <a:xfrm>
              <a:off x="4351579" y="1604875"/>
              <a:ext cx="1137289" cy="4054585"/>
            </a:xfrm>
            <a:custGeom>
              <a:avLst/>
              <a:gdLst>
                <a:gd name="T0" fmla="*/ 1753 w 4502"/>
                <a:gd name="T1" fmla="*/ 15970 h 16051"/>
                <a:gd name="T2" fmla="*/ 1291 w 4502"/>
                <a:gd name="T3" fmla="*/ 15734 h 16051"/>
                <a:gd name="T4" fmla="*/ 1009 w 4502"/>
                <a:gd name="T5" fmla="*/ 15754 h 16051"/>
                <a:gd name="T6" fmla="*/ 803 w 4502"/>
                <a:gd name="T7" fmla="*/ 15899 h 16051"/>
                <a:gd name="T8" fmla="*/ 593 w 4502"/>
                <a:gd name="T9" fmla="*/ 15924 h 16051"/>
                <a:gd name="T10" fmla="*/ 406 w 4502"/>
                <a:gd name="T11" fmla="*/ 15819 h 16051"/>
                <a:gd name="T12" fmla="*/ 241 w 4502"/>
                <a:gd name="T13" fmla="*/ 15488 h 16051"/>
                <a:gd name="T14" fmla="*/ 45 w 4502"/>
                <a:gd name="T15" fmla="*/ 14548 h 16051"/>
                <a:gd name="T16" fmla="*/ 45 w 4502"/>
                <a:gd name="T17" fmla="*/ 13714 h 16051"/>
                <a:gd name="T18" fmla="*/ 100 w 4502"/>
                <a:gd name="T19" fmla="*/ 9177 h 16051"/>
                <a:gd name="T20" fmla="*/ 100 w 4502"/>
                <a:gd name="T21" fmla="*/ 8128 h 16051"/>
                <a:gd name="T22" fmla="*/ 306 w 4502"/>
                <a:gd name="T23" fmla="*/ 7254 h 16051"/>
                <a:gd name="T24" fmla="*/ 598 w 4502"/>
                <a:gd name="T25" fmla="*/ 6657 h 16051"/>
                <a:gd name="T26" fmla="*/ 723 w 4502"/>
                <a:gd name="T27" fmla="*/ 5993 h 16051"/>
                <a:gd name="T28" fmla="*/ 577 w 4502"/>
                <a:gd name="T29" fmla="*/ 5335 h 16051"/>
                <a:gd name="T30" fmla="*/ 281 w 4502"/>
                <a:gd name="T31" fmla="*/ 4858 h 16051"/>
                <a:gd name="T32" fmla="*/ 50 w 4502"/>
                <a:gd name="T33" fmla="*/ 4321 h 16051"/>
                <a:gd name="T34" fmla="*/ 14 w 4502"/>
                <a:gd name="T35" fmla="*/ 3617 h 16051"/>
                <a:gd name="T36" fmla="*/ 171 w 4502"/>
                <a:gd name="T37" fmla="*/ 3080 h 16051"/>
                <a:gd name="T38" fmla="*/ 447 w 4502"/>
                <a:gd name="T39" fmla="*/ 2728 h 16051"/>
                <a:gd name="T40" fmla="*/ 808 w 4502"/>
                <a:gd name="T41" fmla="*/ 2562 h 16051"/>
                <a:gd name="T42" fmla="*/ 1045 w 4502"/>
                <a:gd name="T43" fmla="*/ 2476 h 16051"/>
                <a:gd name="T44" fmla="*/ 1271 w 4502"/>
                <a:gd name="T45" fmla="*/ 2190 h 16051"/>
                <a:gd name="T46" fmla="*/ 1351 w 4502"/>
                <a:gd name="T47" fmla="*/ 1442 h 16051"/>
                <a:gd name="T48" fmla="*/ 1275 w 4502"/>
                <a:gd name="T49" fmla="*/ 1351 h 16051"/>
                <a:gd name="T50" fmla="*/ 1185 w 4502"/>
                <a:gd name="T51" fmla="*/ 1205 h 16051"/>
                <a:gd name="T52" fmla="*/ 1542 w 4502"/>
                <a:gd name="T53" fmla="*/ 45 h 16051"/>
                <a:gd name="T54" fmla="*/ 2546 w 4502"/>
                <a:gd name="T55" fmla="*/ 5 h 16051"/>
                <a:gd name="T56" fmla="*/ 3310 w 4502"/>
                <a:gd name="T57" fmla="*/ 120 h 16051"/>
                <a:gd name="T58" fmla="*/ 3280 w 4502"/>
                <a:gd name="T59" fmla="*/ 1286 h 16051"/>
                <a:gd name="T60" fmla="*/ 3175 w 4502"/>
                <a:gd name="T61" fmla="*/ 1381 h 16051"/>
                <a:gd name="T62" fmla="*/ 3155 w 4502"/>
                <a:gd name="T63" fmla="*/ 1999 h 16051"/>
                <a:gd name="T64" fmla="*/ 3351 w 4502"/>
                <a:gd name="T65" fmla="*/ 2391 h 16051"/>
                <a:gd name="T66" fmla="*/ 3572 w 4502"/>
                <a:gd name="T67" fmla="*/ 2542 h 16051"/>
                <a:gd name="T68" fmla="*/ 3878 w 4502"/>
                <a:gd name="T69" fmla="*/ 2622 h 16051"/>
                <a:gd name="T70" fmla="*/ 4199 w 4502"/>
                <a:gd name="T71" fmla="*/ 2879 h 16051"/>
                <a:gd name="T72" fmla="*/ 4435 w 4502"/>
                <a:gd name="T73" fmla="*/ 3331 h 16051"/>
                <a:gd name="T74" fmla="*/ 4496 w 4502"/>
                <a:gd name="T75" fmla="*/ 3994 h 16051"/>
                <a:gd name="T76" fmla="*/ 4355 w 4502"/>
                <a:gd name="T77" fmla="*/ 4607 h 16051"/>
                <a:gd name="T78" fmla="*/ 4109 w 4502"/>
                <a:gd name="T79" fmla="*/ 5008 h 16051"/>
                <a:gd name="T80" fmla="*/ 3812 w 4502"/>
                <a:gd name="T81" fmla="*/ 5662 h 16051"/>
                <a:gd name="T82" fmla="*/ 3807 w 4502"/>
                <a:gd name="T83" fmla="*/ 6325 h 16051"/>
                <a:gd name="T84" fmla="*/ 4019 w 4502"/>
                <a:gd name="T85" fmla="*/ 6883 h 16051"/>
                <a:gd name="T86" fmla="*/ 4320 w 4502"/>
                <a:gd name="T87" fmla="*/ 7666 h 16051"/>
                <a:gd name="T88" fmla="*/ 4425 w 4502"/>
                <a:gd name="T89" fmla="*/ 8630 h 16051"/>
                <a:gd name="T90" fmla="*/ 4416 w 4502"/>
                <a:gd name="T91" fmla="*/ 13588 h 16051"/>
                <a:gd name="T92" fmla="*/ 4480 w 4502"/>
                <a:gd name="T93" fmla="*/ 14086 h 16051"/>
                <a:gd name="T94" fmla="*/ 4375 w 4502"/>
                <a:gd name="T95" fmla="*/ 15040 h 16051"/>
                <a:gd name="T96" fmla="*/ 4159 w 4502"/>
                <a:gd name="T97" fmla="*/ 15728 h 16051"/>
                <a:gd name="T98" fmla="*/ 4008 w 4502"/>
                <a:gd name="T99" fmla="*/ 15884 h 16051"/>
                <a:gd name="T100" fmla="*/ 3803 w 4502"/>
                <a:gd name="T101" fmla="*/ 15929 h 16051"/>
                <a:gd name="T102" fmla="*/ 3591 w 4502"/>
                <a:gd name="T103" fmla="*/ 15839 h 16051"/>
                <a:gd name="T104" fmla="*/ 3351 w 4502"/>
                <a:gd name="T105" fmla="*/ 15709 h 16051"/>
                <a:gd name="T106" fmla="*/ 3074 w 4502"/>
                <a:gd name="T107" fmla="*/ 15824 h 16051"/>
                <a:gd name="T108" fmla="*/ 2370 w 4502"/>
                <a:gd name="T109" fmla="*/ 16045 h 16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2" h="16051">
                  <a:moveTo>
                    <a:pt x="2250" y="16050"/>
                  </a:moveTo>
                  <a:lnTo>
                    <a:pt x="2250" y="16050"/>
                  </a:lnTo>
                  <a:lnTo>
                    <a:pt x="2124" y="16045"/>
                  </a:lnTo>
                  <a:lnTo>
                    <a:pt x="1999" y="16030"/>
                  </a:lnTo>
                  <a:lnTo>
                    <a:pt x="1873" y="16005"/>
                  </a:lnTo>
                  <a:lnTo>
                    <a:pt x="1753" y="15970"/>
                  </a:lnTo>
                  <a:lnTo>
                    <a:pt x="1638" y="15929"/>
                  </a:lnTo>
                  <a:lnTo>
                    <a:pt x="1527" y="15879"/>
                  </a:lnTo>
                  <a:lnTo>
                    <a:pt x="1421" y="15824"/>
                  </a:lnTo>
                  <a:lnTo>
                    <a:pt x="1331" y="15764"/>
                  </a:lnTo>
                  <a:lnTo>
                    <a:pt x="1331" y="15764"/>
                  </a:lnTo>
                  <a:lnTo>
                    <a:pt x="1291" y="15734"/>
                  </a:lnTo>
                  <a:lnTo>
                    <a:pt x="1246" y="15719"/>
                  </a:lnTo>
                  <a:lnTo>
                    <a:pt x="1195" y="15709"/>
                  </a:lnTo>
                  <a:lnTo>
                    <a:pt x="1145" y="15709"/>
                  </a:lnTo>
                  <a:lnTo>
                    <a:pt x="1100" y="15714"/>
                  </a:lnTo>
                  <a:lnTo>
                    <a:pt x="1054" y="15728"/>
                  </a:lnTo>
                  <a:lnTo>
                    <a:pt x="1009" y="15754"/>
                  </a:lnTo>
                  <a:lnTo>
                    <a:pt x="969" y="15784"/>
                  </a:lnTo>
                  <a:lnTo>
                    <a:pt x="969" y="15784"/>
                  </a:lnTo>
                  <a:lnTo>
                    <a:pt x="909" y="15839"/>
                  </a:lnTo>
                  <a:lnTo>
                    <a:pt x="839" y="15884"/>
                  </a:lnTo>
                  <a:lnTo>
                    <a:pt x="839" y="15884"/>
                  </a:lnTo>
                  <a:lnTo>
                    <a:pt x="803" y="15899"/>
                  </a:lnTo>
                  <a:lnTo>
                    <a:pt x="768" y="15915"/>
                  </a:lnTo>
                  <a:lnTo>
                    <a:pt x="733" y="15924"/>
                  </a:lnTo>
                  <a:lnTo>
                    <a:pt x="698" y="15929"/>
                  </a:lnTo>
                  <a:lnTo>
                    <a:pt x="663" y="15929"/>
                  </a:lnTo>
                  <a:lnTo>
                    <a:pt x="627" y="15929"/>
                  </a:lnTo>
                  <a:lnTo>
                    <a:pt x="593" y="15924"/>
                  </a:lnTo>
                  <a:lnTo>
                    <a:pt x="557" y="15915"/>
                  </a:lnTo>
                  <a:lnTo>
                    <a:pt x="522" y="15904"/>
                  </a:lnTo>
                  <a:lnTo>
                    <a:pt x="492" y="15884"/>
                  </a:lnTo>
                  <a:lnTo>
                    <a:pt x="462" y="15869"/>
                  </a:lnTo>
                  <a:lnTo>
                    <a:pt x="431" y="15844"/>
                  </a:lnTo>
                  <a:lnTo>
                    <a:pt x="406" y="15819"/>
                  </a:lnTo>
                  <a:lnTo>
                    <a:pt x="381" y="15794"/>
                  </a:lnTo>
                  <a:lnTo>
                    <a:pt x="356" y="15764"/>
                  </a:lnTo>
                  <a:lnTo>
                    <a:pt x="341" y="15728"/>
                  </a:lnTo>
                  <a:lnTo>
                    <a:pt x="341" y="15728"/>
                  </a:lnTo>
                  <a:lnTo>
                    <a:pt x="286" y="15618"/>
                  </a:lnTo>
                  <a:lnTo>
                    <a:pt x="241" y="15488"/>
                  </a:lnTo>
                  <a:lnTo>
                    <a:pt x="196" y="15352"/>
                  </a:lnTo>
                  <a:lnTo>
                    <a:pt x="160" y="15201"/>
                  </a:lnTo>
                  <a:lnTo>
                    <a:pt x="125" y="15040"/>
                  </a:lnTo>
                  <a:lnTo>
                    <a:pt x="90" y="14880"/>
                  </a:lnTo>
                  <a:lnTo>
                    <a:pt x="65" y="14714"/>
                  </a:lnTo>
                  <a:lnTo>
                    <a:pt x="45" y="14548"/>
                  </a:lnTo>
                  <a:lnTo>
                    <a:pt x="30" y="14387"/>
                  </a:lnTo>
                  <a:lnTo>
                    <a:pt x="20" y="14232"/>
                  </a:lnTo>
                  <a:lnTo>
                    <a:pt x="20" y="14086"/>
                  </a:lnTo>
                  <a:lnTo>
                    <a:pt x="20" y="13945"/>
                  </a:lnTo>
                  <a:lnTo>
                    <a:pt x="30" y="13825"/>
                  </a:lnTo>
                  <a:lnTo>
                    <a:pt x="45" y="13714"/>
                  </a:lnTo>
                  <a:lnTo>
                    <a:pt x="60" y="13669"/>
                  </a:lnTo>
                  <a:lnTo>
                    <a:pt x="70" y="13624"/>
                  </a:lnTo>
                  <a:lnTo>
                    <a:pt x="85" y="13588"/>
                  </a:lnTo>
                  <a:lnTo>
                    <a:pt x="100" y="13558"/>
                  </a:lnTo>
                  <a:lnTo>
                    <a:pt x="100" y="9177"/>
                  </a:lnTo>
                  <a:lnTo>
                    <a:pt x="100" y="9177"/>
                  </a:lnTo>
                  <a:lnTo>
                    <a:pt x="85" y="8992"/>
                  </a:lnTo>
                  <a:lnTo>
                    <a:pt x="80" y="8806"/>
                  </a:lnTo>
                  <a:lnTo>
                    <a:pt x="75" y="8630"/>
                  </a:lnTo>
                  <a:lnTo>
                    <a:pt x="75" y="8459"/>
                  </a:lnTo>
                  <a:lnTo>
                    <a:pt x="85" y="8289"/>
                  </a:lnTo>
                  <a:lnTo>
                    <a:pt x="100" y="8128"/>
                  </a:lnTo>
                  <a:lnTo>
                    <a:pt x="120" y="7968"/>
                  </a:lnTo>
                  <a:lnTo>
                    <a:pt x="145" y="7817"/>
                  </a:lnTo>
                  <a:lnTo>
                    <a:pt x="176" y="7666"/>
                  </a:lnTo>
                  <a:lnTo>
                    <a:pt x="215" y="7526"/>
                  </a:lnTo>
                  <a:lnTo>
                    <a:pt x="256" y="7385"/>
                  </a:lnTo>
                  <a:lnTo>
                    <a:pt x="306" y="7254"/>
                  </a:lnTo>
                  <a:lnTo>
                    <a:pt x="356" y="7124"/>
                  </a:lnTo>
                  <a:lnTo>
                    <a:pt x="417" y="6998"/>
                  </a:lnTo>
                  <a:lnTo>
                    <a:pt x="482" y="6883"/>
                  </a:lnTo>
                  <a:lnTo>
                    <a:pt x="552" y="6767"/>
                  </a:lnTo>
                  <a:lnTo>
                    <a:pt x="552" y="6767"/>
                  </a:lnTo>
                  <a:lnTo>
                    <a:pt x="598" y="6657"/>
                  </a:lnTo>
                  <a:lnTo>
                    <a:pt x="637" y="6546"/>
                  </a:lnTo>
                  <a:lnTo>
                    <a:pt x="668" y="6436"/>
                  </a:lnTo>
                  <a:lnTo>
                    <a:pt x="693" y="6325"/>
                  </a:lnTo>
                  <a:lnTo>
                    <a:pt x="713" y="6210"/>
                  </a:lnTo>
                  <a:lnTo>
                    <a:pt x="723" y="6099"/>
                  </a:lnTo>
                  <a:lnTo>
                    <a:pt x="723" y="5993"/>
                  </a:lnTo>
                  <a:lnTo>
                    <a:pt x="718" y="5883"/>
                  </a:lnTo>
                  <a:lnTo>
                    <a:pt x="708" y="5772"/>
                  </a:lnTo>
                  <a:lnTo>
                    <a:pt x="688" y="5662"/>
                  </a:lnTo>
                  <a:lnTo>
                    <a:pt x="657" y="5551"/>
                  </a:lnTo>
                  <a:lnTo>
                    <a:pt x="623" y="5441"/>
                  </a:lnTo>
                  <a:lnTo>
                    <a:pt x="577" y="5335"/>
                  </a:lnTo>
                  <a:lnTo>
                    <a:pt x="522" y="5225"/>
                  </a:lnTo>
                  <a:lnTo>
                    <a:pt x="462" y="5119"/>
                  </a:lnTo>
                  <a:lnTo>
                    <a:pt x="386" y="5008"/>
                  </a:lnTo>
                  <a:lnTo>
                    <a:pt x="386" y="5008"/>
                  </a:lnTo>
                  <a:lnTo>
                    <a:pt x="331" y="4933"/>
                  </a:lnTo>
                  <a:lnTo>
                    <a:pt x="281" y="4858"/>
                  </a:lnTo>
                  <a:lnTo>
                    <a:pt x="231" y="4777"/>
                  </a:lnTo>
                  <a:lnTo>
                    <a:pt x="185" y="4692"/>
                  </a:lnTo>
                  <a:lnTo>
                    <a:pt x="145" y="4607"/>
                  </a:lnTo>
                  <a:lnTo>
                    <a:pt x="110" y="4516"/>
                  </a:lnTo>
                  <a:lnTo>
                    <a:pt x="75" y="4421"/>
                  </a:lnTo>
                  <a:lnTo>
                    <a:pt x="50" y="4321"/>
                  </a:lnTo>
                  <a:lnTo>
                    <a:pt x="30" y="4220"/>
                  </a:lnTo>
                  <a:lnTo>
                    <a:pt x="9" y="4109"/>
                  </a:lnTo>
                  <a:lnTo>
                    <a:pt x="5" y="3994"/>
                  </a:lnTo>
                  <a:lnTo>
                    <a:pt x="0" y="3873"/>
                  </a:lnTo>
                  <a:lnTo>
                    <a:pt x="5" y="3748"/>
                  </a:lnTo>
                  <a:lnTo>
                    <a:pt x="14" y="3617"/>
                  </a:lnTo>
                  <a:lnTo>
                    <a:pt x="35" y="3476"/>
                  </a:lnTo>
                  <a:lnTo>
                    <a:pt x="60" y="3331"/>
                  </a:lnTo>
                  <a:lnTo>
                    <a:pt x="60" y="3331"/>
                  </a:lnTo>
                  <a:lnTo>
                    <a:pt x="95" y="3240"/>
                  </a:lnTo>
                  <a:lnTo>
                    <a:pt x="130" y="3160"/>
                  </a:lnTo>
                  <a:lnTo>
                    <a:pt x="171" y="3080"/>
                  </a:lnTo>
                  <a:lnTo>
                    <a:pt x="210" y="3009"/>
                  </a:lnTo>
                  <a:lnTo>
                    <a:pt x="251" y="2939"/>
                  </a:lnTo>
                  <a:lnTo>
                    <a:pt x="296" y="2879"/>
                  </a:lnTo>
                  <a:lnTo>
                    <a:pt x="346" y="2823"/>
                  </a:lnTo>
                  <a:lnTo>
                    <a:pt x="397" y="2773"/>
                  </a:lnTo>
                  <a:lnTo>
                    <a:pt x="447" y="2728"/>
                  </a:lnTo>
                  <a:lnTo>
                    <a:pt x="502" y="2688"/>
                  </a:lnTo>
                  <a:lnTo>
                    <a:pt x="557" y="2652"/>
                  </a:lnTo>
                  <a:lnTo>
                    <a:pt x="618" y="2622"/>
                  </a:lnTo>
                  <a:lnTo>
                    <a:pt x="683" y="2597"/>
                  </a:lnTo>
                  <a:lnTo>
                    <a:pt x="743" y="2577"/>
                  </a:lnTo>
                  <a:lnTo>
                    <a:pt x="808" y="2562"/>
                  </a:lnTo>
                  <a:lnTo>
                    <a:pt x="879" y="2552"/>
                  </a:lnTo>
                  <a:lnTo>
                    <a:pt x="879" y="2552"/>
                  </a:lnTo>
                  <a:lnTo>
                    <a:pt x="924" y="2542"/>
                  </a:lnTo>
                  <a:lnTo>
                    <a:pt x="969" y="2522"/>
                  </a:lnTo>
                  <a:lnTo>
                    <a:pt x="1009" y="2501"/>
                  </a:lnTo>
                  <a:lnTo>
                    <a:pt x="1045" y="2476"/>
                  </a:lnTo>
                  <a:lnTo>
                    <a:pt x="1079" y="2451"/>
                  </a:lnTo>
                  <a:lnTo>
                    <a:pt x="1115" y="2421"/>
                  </a:lnTo>
                  <a:lnTo>
                    <a:pt x="1145" y="2391"/>
                  </a:lnTo>
                  <a:lnTo>
                    <a:pt x="1175" y="2356"/>
                  </a:lnTo>
                  <a:lnTo>
                    <a:pt x="1225" y="2275"/>
                  </a:lnTo>
                  <a:lnTo>
                    <a:pt x="1271" y="2190"/>
                  </a:lnTo>
                  <a:lnTo>
                    <a:pt x="1311" y="2100"/>
                  </a:lnTo>
                  <a:lnTo>
                    <a:pt x="1346" y="1999"/>
                  </a:lnTo>
                  <a:lnTo>
                    <a:pt x="1346" y="1999"/>
                  </a:lnTo>
                  <a:lnTo>
                    <a:pt x="1351" y="1964"/>
                  </a:lnTo>
                  <a:lnTo>
                    <a:pt x="1351" y="1442"/>
                  </a:lnTo>
                  <a:lnTo>
                    <a:pt x="1351" y="1442"/>
                  </a:lnTo>
                  <a:lnTo>
                    <a:pt x="1346" y="1417"/>
                  </a:lnTo>
                  <a:lnTo>
                    <a:pt x="1336" y="1397"/>
                  </a:lnTo>
                  <a:lnTo>
                    <a:pt x="1321" y="1381"/>
                  </a:lnTo>
                  <a:lnTo>
                    <a:pt x="1306" y="1366"/>
                  </a:lnTo>
                  <a:lnTo>
                    <a:pt x="1306" y="1366"/>
                  </a:lnTo>
                  <a:lnTo>
                    <a:pt x="1275" y="1351"/>
                  </a:lnTo>
                  <a:lnTo>
                    <a:pt x="1255" y="1331"/>
                  </a:lnTo>
                  <a:lnTo>
                    <a:pt x="1235" y="1311"/>
                  </a:lnTo>
                  <a:lnTo>
                    <a:pt x="1216" y="1286"/>
                  </a:lnTo>
                  <a:lnTo>
                    <a:pt x="1205" y="1261"/>
                  </a:lnTo>
                  <a:lnTo>
                    <a:pt x="1195" y="1235"/>
                  </a:lnTo>
                  <a:lnTo>
                    <a:pt x="1185" y="1205"/>
                  </a:lnTo>
                  <a:lnTo>
                    <a:pt x="1185" y="1175"/>
                  </a:lnTo>
                  <a:lnTo>
                    <a:pt x="1185" y="120"/>
                  </a:lnTo>
                  <a:lnTo>
                    <a:pt x="1185" y="120"/>
                  </a:lnTo>
                  <a:lnTo>
                    <a:pt x="1296" y="90"/>
                  </a:lnTo>
                  <a:lnTo>
                    <a:pt x="1416" y="65"/>
                  </a:lnTo>
                  <a:lnTo>
                    <a:pt x="1542" y="45"/>
                  </a:lnTo>
                  <a:lnTo>
                    <a:pt x="1672" y="25"/>
                  </a:lnTo>
                  <a:lnTo>
                    <a:pt x="1813" y="15"/>
                  </a:lnTo>
                  <a:lnTo>
                    <a:pt x="1954" y="5"/>
                  </a:lnTo>
                  <a:lnTo>
                    <a:pt x="2250" y="0"/>
                  </a:lnTo>
                  <a:lnTo>
                    <a:pt x="2250" y="0"/>
                  </a:lnTo>
                  <a:lnTo>
                    <a:pt x="2546" y="5"/>
                  </a:lnTo>
                  <a:lnTo>
                    <a:pt x="2687" y="15"/>
                  </a:lnTo>
                  <a:lnTo>
                    <a:pt x="2823" y="25"/>
                  </a:lnTo>
                  <a:lnTo>
                    <a:pt x="2954" y="45"/>
                  </a:lnTo>
                  <a:lnTo>
                    <a:pt x="3084" y="65"/>
                  </a:lnTo>
                  <a:lnTo>
                    <a:pt x="3200" y="90"/>
                  </a:lnTo>
                  <a:lnTo>
                    <a:pt x="3310" y="120"/>
                  </a:lnTo>
                  <a:lnTo>
                    <a:pt x="3310" y="1175"/>
                  </a:lnTo>
                  <a:lnTo>
                    <a:pt x="3310" y="1175"/>
                  </a:lnTo>
                  <a:lnTo>
                    <a:pt x="3310" y="1205"/>
                  </a:lnTo>
                  <a:lnTo>
                    <a:pt x="3305" y="1235"/>
                  </a:lnTo>
                  <a:lnTo>
                    <a:pt x="3295" y="1261"/>
                  </a:lnTo>
                  <a:lnTo>
                    <a:pt x="3280" y="1286"/>
                  </a:lnTo>
                  <a:lnTo>
                    <a:pt x="3265" y="1311"/>
                  </a:lnTo>
                  <a:lnTo>
                    <a:pt x="3245" y="1331"/>
                  </a:lnTo>
                  <a:lnTo>
                    <a:pt x="3220" y="1351"/>
                  </a:lnTo>
                  <a:lnTo>
                    <a:pt x="3195" y="1366"/>
                  </a:lnTo>
                  <a:lnTo>
                    <a:pt x="3195" y="1366"/>
                  </a:lnTo>
                  <a:lnTo>
                    <a:pt x="3175" y="1381"/>
                  </a:lnTo>
                  <a:lnTo>
                    <a:pt x="3159" y="1397"/>
                  </a:lnTo>
                  <a:lnTo>
                    <a:pt x="3155" y="1417"/>
                  </a:lnTo>
                  <a:lnTo>
                    <a:pt x="3150" y="1442"/>
                  </a:lnTo>
                  <a:lnTo>
                    <a:pt x="3150" y="1964"/>
                  </a:lnTo>
                  <a:lnTo>
                    <a:pt x="3150" y="1964"/>
                  </a:lnTo>
                  <a:lnTo>
                    <a:pt x="3155" y="1999"/>
                  </a:lnTo>
                  <a:lnTo>
                    <a:pt x="3155" y="1999"/>
                  </a:lnTo>
                  <a:lnTo>
                    <a:pt x="3189" y="2100"/>
                  </a:lnTo>
                  <a:lnTo>
                    <a:pt x="3225" y="2190"/>
                  </a:lnTo>
                  <a:lnTo>
                    <a:pt x="3270" y="2275"/>
                  </a:lnTo>
                  <a:lnTo>
                    <a:pt x="3326" y="2356"/>
                  </a:lnTo>
                  <a:lnTo>
                    <a:pt x="3351" y="2391"/>
                  </a:lnTo>
                  <a:lnTo>
                    <a:pt x="3381" y="2421"/>
                  </a:lnTo>
                  <a:lnTo>
                    <a:pt x="3415" y="2451"/>
                  </a:lnTo>
                  <a:lnTo>
                    <a:pt x="3451" y="2476"/>
                  </a:lnTo>
                  <a:lnTo>
                    <a:pt x="3491" y="2501"/>
                  </a:lnTo>
                  <a:lnTo>
                    <a:pt x="3531" y="2522"/>
                  </a:lnTo>
                  <a:lnTo>
                    <a:pt x="3572" y="2542"/>
                  </a:lnTo>
                  <a:lnTo>
                    <a:pt x="3622" y="2552"/>
                  </a:lnTo>
                  <a:lnTo>
                    <a:pt x="3622" y="2552"/>
                  </a:lnTo>
                  <a:lnTo>
                    <a:pt x="3687" y="2562"/>
                  </a:lnTo>
                  <a:lnTo>
                    <a:pt x="3752" y="2577"/>
                  </a:lnTo>
                  <a:lnTo>
                    <a:pt x="3818" y="2597"/>
                  </a:lnTo>
                  <a:lnTo>
                    <a:pt x="3878" y="2622"/>
                  </a:lnTo>
                  <a:lnTo>
                    <a:pt x="3938" y="2652"/>
                  </a:lnTo>
                  <a:lnTo>
                    <a:pt x="3994" y="2688"/>
                  </a:lnTo>
                  <a:lnTo>
                    <a:pt x="4049" y="2728"/>
                  </a:lnTo>
                  <a:lnTo>
                    <a:pt x="4104" y="2773"/>
                  </a:lnTo>
                  <a:lnTo>
                    <a:pt x="4154" y="2823"/>
                  </a:lnTo>
                  <a:lnTo>
                    <a:pt x="4199" y="2879"/>
                  </a:lnTo>
                  <a:lnTo>
                    <a:pt x="4245" y="2939"/>
                  </a:lnTo>
                  <a:lnTo>
                    <a:pt x="4290" y="3009"/>
                  </a:lnTo>
                  <a:lnTo>
                    <a:pt x="4330" y="3080"/>
                  </a:lnTo>
                  <a:lnTo>
                    <a:pt x="4370" y="3160"/>
                  </a:lnTo>
                  <a:lnTo>
                    <a:pt x="4405" y="3240"/>
                  </a:lnTo>
                  <a:lnTo>
                    <a:pt x="4435" y="3331"/>
                  </a:lnTo>
                  <a:lnTo>
                    <a:pt x="4435" y="3331"/>
                  </a:lnTo>
                  <a:lnTo>
                    <a:pt x="4466" y="3476"/>
                  </a:lnTo>
                  <a:lnTo>
                    <a:pt x="4486" y="3617"/>
                  </a:lnTo>
                  <a:lnTo>
                    <a:pt x="4496" y="3748"/>
                  </a:lnTo>
                  <a:lnTo>
                    <a:pt x="4501" y="3873"/>
                  </a:lnTo>
                  <a:lnTo>
                    <a:pt x="4496" y="3994"/>
                  </a:lnTo>
                  <a:lnTo>
                    <a:pt x="4486" y="4109"/>
                  </a:lnTo>
                  <a:lnTo>
                    <a:pt x="4471" y="4220"/>
                  </a:lnTo>
                  <a:lnTo>
                    <a:pt x="4451" y="4321"/>
                  </a:lnTo>
                  <a:lnTo>
                    <a:pt x="4421" y="4421"/>
                  </a:lnTo>
                  <a:lnTo>
                    <a:pt x="4390" y="4516"/>
                  </a:lnTo>
                  <a:lnTo>
                    <a:pt x="4355" y="4607"/>
                  </a:lnTo>
                  <a:lnTo>
                    <a:pt x="4310" y="4692"/>
                  </a:lnTo>
                  <a:lnTo>
                    <a:pt x="4265" y="4777"/>
                  </a:lnTo>
                  <a:lnTo>
                    <a:pt x="4220" y="4858"/>
                  </a:lnTo>
                  <a:lnTo>
                    <a:pt x="4164" y="4933"/>
                  </a:lnTo>
                  <a:lnTo>
                    <a:pt x="4109" y="5008"/>
                  </a:lnTo>
                  <a:lnTo>
                    <a:pt x="4109" y="5008"/>
                  </a:lnTo>
                  <a:lnTo>
                    <a:pt x="4039" y="5119"/>
                  </a:lnTo>
                  <a:lnTo>
                    <a:pt x="3974" y="5225"/>
                  </a:lnTo>
                  <a:lnTo>
                    <a:pt x="3923" y="5335"/>
                  </a:lnTo>
                  <a:lnTo>
                    <a:pt x="3878" y="5441"/>
                  </a:lnTo>
                  <a:lnTo>
                    <a:pt x="3837" y="5551"/>
                  </a:lnTo>
                  <a:lnTo>
                    <a:pt x="3812" y="5662"/>
                  </a:lnTo>
                  <a:lnTo>
                    <a:pt x="3792" y="5772"/>
                  </a:lnTo>
                  <a:lnTo>
                    <a:pt x="3777" y="5883"/>
                  </a:lnTo>
                  <a:lnTo>
                    <a:pt x="3773" y="5993"/>
                  </a:lnTo>
                  <a:lnTo>
                    <a:pt x="3777" y="6099"/>
                  </a:lnTo>
                  <a:lnTo>
                    <a:pt x="3787" y="6210"/>
                  </a:lnTo>
                  <a:lnTo>
                    <a:pt x="3807" y="6325"/>
                  </a:lnTo>
                  <a:lnTo>
                    <a:pt x="3833" y="6436"/>
                  </a:lnTo>
                  <a:lnTo>
                    <a:pt x="3863" y="6546"/>
                  </a:lnTo>
                  <a:lnTo>
                    <a:pt x="3903" y="6657"/>
                  </a:lnTo>
                  <a:lnTo>
                    <a:pt x="3948" y="6767"/>
                  </a:lnTo>
                  <a:lnTo>
                    <a:pt x="3948" y="6767"/>
                  </a:lnTo>
                  <a:lnTo>
                    <a:pt x="4019" y="6883"/>
                  </a:lnTo>
                  <a:lnTo>
                    <a:pt x="4079" y="6998"/>
                  </a:lnTo>
                  <a:lnTo>
                    <a:pt x="4139" y="7124"/>
                  </a:lnTo>
                  <a:lnTo>
                    <a:pt x="4195" y="7254"/>
                  </a:lnTo>
                  <a:lnTo>
                    <a:pt x="4240" y="7385"/>
                  </a:lnTo>
                  <a:lnTo>
                    <a:pt x="4285" y="7526"/>
                  </a:lnTo>
                  <a:lnTo>
                    <a:pt x="4320" y="7666"/>
                  </a:lnTo>
                  <a:lnTo>
                    <a:pt x="4350" y="7817"/>
                  </a:lnTo>
                  <a:lnTo>
                    <a:pt x="4380" y="7968"/>
                  </a:lnTo>
                  <a:lnTo>
                    <a:pt x="4400" y="8128"/>
                  </a:lnTo>
                  <a:lnTo>
                    <a:pt x="4410" y="8289"/>
                  </a:lnTo>
                  <a:lnTo>
                    <a:pt x="4421" y="8459"/>
                  </a:lnTo>
                  <a:lnTo>
                    <a:pt x="4425" y="8630"/>
                  </a:lnTo>
                  <a:lnTo>
                    <a:pt x="4421" y="8806"/>
                  </a:lnTo>
                  <a:lnTo>
                    <a:pt x="4410" y="8992"/>
                  </a:lnTo>
                  <a:lnTo>
                    <a:pt x="4396" y="9177"/>
                  </a:lnTo>
                  <a:lnTo>
                    <a:pt x="4396" y="13558"/>
                  </a:lnTo>
                  <a:lnTo>
                    <a:pt x="4396" y="13558"/>
                  </a:lnTo>
                  <a:lnTo>
                    <a:pt x="4416" y="13588"/>
                  </a:lnTo>
                  <a:lnTo>
                    <a:pt x="4425" y="13624"/>
                  </a:lnTo>
                  <a:lnTo>
                    <a:pt x="4441" y="13669"/>
                  </a:lnTo>
                  <a:lnTo>
                    <a:pt x="4451" y="13714"/>
                  </a:lnTo>
                  <a:lnTo>
                    <a:pt x="4466" y="13825"/>
                  </a:lnTo>
                  <a:lnTo>
                    <a:pt x="4476" y="13945"/>
                  </a:lnTo>
                  <a:lnTo>
                    <a:pt x="4480" y="14086"/>
                  </a:lnTo>
                  <a:lnTo>
                    <a:pt x="4476" y="14232"/>
                  </a:lnTo>
                  <a:lnTo>
                    <a:pt x="4466" y="14387"/>
                  </a:lnTo>
                  <a:lnTo>
                    <a:pt x="4451" y="14548"/>
                  </a:lnTo>
                  <a:lnTo>
                    <a:pt x="4430" y="14714"/>
                  </a:lnTo>
                  <a:lnTo>
                    <a:pt x="4405" y="14880"/>
                  </a:lnTo>
                  <a:lnTo>
                    <a:pt x="4375" y="15040"/>
                  </a:lnTo>
                  <a:lnTo>
                    <a:pt x="4340" y="15201"/>
                  </a:lnTo>
                  <a:lnTo>
                    <a:pt x="4300" y="15352"/>
                  </a:lnTo>
                  <a:lnTo>
                    <a:pt x="4255" y="15488"/>
                  </a:lnTo>
                  <a:lnTo>
                    <a:pt x="4209" y="15618"/>
                  </a:lnTo>
                  <a:lnTo>
                    <a:pt x="4159" y="15728"/>
                  </a:lnTo>
                  <a:lnTo>
                    <a:pt x="4159" y="15728"/>
                  </a:lnTo>
                  <a:lnTo>
                    <a:pt x="4139" y="15764"/>
                  </a:lnTo>
                  <a:lnTo>
                    <a:pt x="4119" y="15794"/>
                  </a:lnTo>
                  <a:lnTo>
                    <a:pt x="4094" y="15819"/>
                  </a:lnTo>
                  <a:lnTo>
                    <a:pt x="4069" y="15844"/>
                  </a:lnTo>
                  <a:lnTo>
                    <a:pt x="4039" y="15869"/>
                  </a:lnTo>
                  <a:lnTo>
                    <a:pt x="4008" y="15884"/>
                  </a:lnTo>
                  <a:lnTo>
                    <a:pt x="3974" y="15904"/>
                  </a:lnTo>
                  <a:lnTo>
                    <a:pt x="3943" y="15915"/>
                  </a:lnTo>
                  <a:lnTo>
                    <a:pt x="3908" y="15924"/>
                  </a:lnTo>
                  <a:lnTo>
                    <a:pt x="3873" y="15929"/>
                  </a:lnTo>
                  <a:lnTo>
                    <a:pt x="3837" y="15929"/>
                  </a:lnTo>
                  <a:lnTo>
                    <a:pt x="3803" y="15929"/>
                  </a:lnTo>
                  <a:lnTo>
                    <a:pt x="3762" y="15924"/>
                  </a:lnTo>
                  <a:lnTo>
                    <a:pt x="3727" y="15915"/>
                  </a:lnTo>
                  <a:lnTo>
                    <a:pt x="3692" y="15899"/>
                  </a:lnTo>
                  <a:lnTo>
                    <a:pt x="3657" y="15884"/>
                  </a:lnTo>
                  <a:lnTo>
                    <a:pt x="3657" y="15884"/>
                  </a:lnTo>
                  <a:lnTo>
                    <a:pt x="3591" y="15839"/>
                  </a:lnTo>
                  <a:lnTo>
                    <a:pt x="3526" y="15784"/>
                  </a:lnTo>
                  <a:lnTo>
                    <a:pt x="3526" y="15784"/>
                  </a:lnTo>
                  <a:lnTo>
                    <a:pt x="3486" y="15754"/>
                  </a:lnTo>
                  <a:lnTo>
                    <a:pt x="3446" y="15728"/>
                  </a:lnTo>
                  <a:lnTo>
                    <a:pt x="3401" y="15714"/>
                  </a:lnTo>
                  <a:lnTo>
                    <a:pt x="3351" y="15709"/>
                  </a:lnTo>
                  <a:lnTo>
                    <a:pt x="3300" y="15709"/>
                  </a:lnTo>
                  <a:lnTo>
                    <a:pt x="3255" y="15719"/>
                  </a:lnTo>
                  <a:lnTo>
                    <a:pt x="3210" y="15734"/>
                  </a:lnTo>
                  <a:lnTo>
                    <a:pt x="3164" y="15764"/>
                  </a:lnTo>
                  <a:lnTo>
                    <a:pt x="3164" y="15764"/>
                  </a:lnTo>
                  <a:lnTo>
                    <a:pt x="3074" y="15824"/>
                  </a:lnTo>
                  <a:lnTo>
                    <a:pt x="2974" y="15879"/>
                  </a:lnTo>
                  <a:lnTo>
                    <a:pt x="2863" y="15929"/>
                  </a:lnTo>
                  <a:lnTo>
                    <a:pt x="2742" y="15970"/>
                  </a:lnTo>
                  <a:lnTo>
                    <a:pt x="2622" y="16005"/>
                  </a:lnTo>
                  <a:lnTo>
                    <a:pt x="2496" y="16030"/>
                  </a:lnTo>
                  <a:lnTo>
                    <a:pt x="2370" y="16045"/>
                  </a:lnTo>
                  <a:lnTo>
                    <a:pt x="2250" y="16050"/>
                  </a:lnTo>
                </a:path>
              </a:pathLst>
            </a:custGeom>
            <a:noFill/>
            <a:ln w="12700">
              <a:solidFill>
                <a:schemeClr val="bg1">
                  <a:alpha val="30000"/>
                </a:schemeClr>
              </a:solidFill>
            </a:ln>
            <a:effectLst/>
          </p:spPr>
          <p:txBody>
            <a:bodyPr wrap="none" anchor="ctr"/>
            <a:lstStyle/>
            <a:p>
              <a:endParaRPr lang="en-US" sz="1709"/>
            </a:p>
          </p:txBody>
        </p:sp>
        <p:sp>
          <p:nvSpPr>
            <p:cNvPr id="10" name="Freeform 9">
              <a:extLst>
                <a:ext uri="{FF2B5EF4-FFF2-40B4-BE49-F238E27FC236}">
                  <a16:creationId xmlns:a16="http://schemas.microsoft.com/office/drawing/2014/main" id="{ADAEB983-5641-0045-9A7E-6ED2E5D0E284}"/>
                </a:ext>
              </a:extLst>
            </p:cNvPr>
            <p:cNvSpPr>
              <a:spLocks noChangeArrowheads="1"/>
            </p:cNvSpPr>
            <p:nvPr/>
          </p:nvSpPr>
          <p:spPr bwMode="auto">
            <a:xfrm>
              <a:off x="8056401" y="1897832"/>
              <a:ext cx="1091620" cy="3609026"/>
            </a:xfrm>
            <a:custGeom>
              <a:avLst/>
              <a:gdLst>
                <a:gd name="T0" fmla="*/ 728 w 4321"/>
                <a:gd name="T1" fmla="*/ 14262 h 14288"/>
                <a:gd name="T2" fmla="*/ 392 w 4321"/>
                <a:gd name="T3" fmla="*/ 14152 h 14288"/>
                <a:gd name="T4" fmla="*/ 176 w 4321"/>
                <a:gd name="T5" fmla="*/ 14001 h 14288"/>
                <a:gd name="T6" fmla="*/ 25 w 4321"/>
                <a:gd name="T7" fmla="*/ 13770 h 14288"/>
                <a:gd name="T8" fmla="*/ 0 w 4321"/>
                <a:gd name="T9" fmla="*/ 6054 h 14288"/>
                <a:gd name="T10" fmla="*/ 55 w 4321"/>
                <a:gd name="T11" fmla="*/ 5883 h 14288"/>
                <a:gd name="T12" fmla="*/ 140 w 4321"/>
                <a:gd name="T13" fmla="*/ 5788 h 14288"/>
                <a:gd name="T14" fmla="*/ 266 w 4321"/>
                <a:gd name="T15" fmla="*/ 5627 h 14288"/>
                <a:gd name="T16" fmla="*/ 311 w 4321"/>
                <a:gd name="T17" fmla="*/ 5421 h 14288"/>
                <a:gd name="T18" fmla="*/ 306 w 4321"/>
                <a:gd name="T19" fmla="*/ 5301 h 14288"/>
                <a:gd name="T20" fmla="*/ 251 w 4321"/>
                <a:gd name="T21" fmla="*/ 5180 h 14288"/>
                <a:gd name="T22" fmla="*/ 171 w 4321"/>
                <a:gd name="T23" fmla="*/ 5100 h 14288"/>
                <a:gd name="T24" fmla="*/ 75 w 4321"/>
                <a:gd name="T25" fmla="*/ 4969 h 14288"/>
                <a:gd name="T26" fmla="*/ 5 w 4321"/>
                <a:gd name="T27" fmla="*/ 4687 h 14288"/>
                <a:gd name="T28" fmla="*/ 95 w 4321"/>
                <a:gd name="T29" fmla="*/ 3588 h 14288"/>
                <a:gd name="T30" fmla="*/ 281 w 4321"/>
                <a:gd name="T31" fmla="*/ 3060 h 14288"/>
                <a:gd name="T32" fmla="*/ 548 w 4321"/>
                <a:gd name="T33" fmla="*/ 2603 h 14288"/>
                <a:gd name="T34" fmla="*/ 899 w 4321"/>
                <a:gd name="T35" fmla="*/ 2206 h 14288"/>
                <a:gd name="T36" fmla="*/ 1115 w 4321"/>
                <a:gd name="T37" fmla="*/ 2015 h 14288"/>
                <a:gd name="T38" fmla="*/ 1130 w 4321"/>
                <a:gd name="T39" fmla="*/ 1598 h 14288"/>
                <a:gd name="T40" fmla="*/ 1095 w 4321"/>
                <a:gd name="T41" fmla="*/ 1537 h 14288"/>
                <a:gd name="T42" fmla="*/ 1030 w 4321"/>
                <a:gd name="T43" fmla="*/ 1528 h 14288"/>
                <a:gd name="T44" fmla="*/ 970 w 4321"/>
                <a:gd name="T45" fmla="*/ 1482 h 14288"/>
                <a:gd name="T46" fmla="*/ 949 w 4321"/>
                <a:gd name="T47" fmla="*/ 467 h 14288"/>
                <a:gd name="T48" fmla="*/ 989 w 4321"/>
                <a:gd name="T49" fmla="*/ 357 h 14288"/>
                <a:gd name="T50" fmla="*/ 1210 w 4321"/>
                <a:gd name="T51" fmla="*/ 206 h 14288"/>
                <a:gd name="T52" fmla="*/ 1652 w 4321"/>
                <a:gd name="T53" fmla="*/ 61 h 14288"/>
                <a:gd name="T54" fmla="*/ 2024 w 4321"/>
                <a:gd name="T55" fmla="*/ 5 h 14288"/>
                <a:gd name="T56" fmla="*/ 2431 w 4321"/>
                <a:gd name="T57" fmla="*/ 20 h 14288"/>
                <a:gd name="T58" fmla="*/ 2893 w 4321"/>
                <a:gd name="T59" fmla="*/ 121 h 14288"/>
                <a:gd name="T60" fmla="*/ 3306 w 4321"/>
                <a:gd name="T61" fmla="*/ 332 h 14288"/>
                <a:gd name="T62" fmla="*/ 3366 w 4321"/>
                <a:gd name="T63" fmla="*/ 427 h 14288"/>
                <a:gd name="T64" fmla="*/ 3366 w 4321"/>
                <a:gd name="T65" fmla="*/ 1442 h 14288"/>
                <a:gd name="T66" fmla="*/ 3326 w 4321"/>
                <a:gd name="T67" fmla="*/ 1512 h 14288"/>
                <a:gd name="T68" fmla="*/ 3245 w 4321"/>
                <a:gd name="T69" fmla="*/ 1533 h 14288"/>
                <a:gd name="T70" fmla="*/ 3195 w 4321"/>
                <a:gd name="T71" fmla="*/ 1573 h 14288"/>
                <a:gd name="T72" fmla="*/ 3190 w 4321"/>
                <a:gd name="T73" fmla="*/ 1990 h 14288"/>
                <a:gd name="T74" fmla="*/ 3215 w 4321"/>
                <a:gd name="T75" fmla="*/ 2025 h 14288"/>
                <a:gd name="T76" fmla="*/ 3607 w 4321"/>
                <a:gd name="T77" fmla="*/ 2397 h 14288"/>
                <a:gd name="T78" fmla="*/ 3913 w 4321"/>
                <a:gd name="T79" fmla="*/ 2824 h 14288"/>
                <a:gd name="T80" fmla="*/ 4139 w 4321"/>
                <a:gd name="T81" fmla="*/ 3316 h 14288"/>
                <a:gd name="T82" fmla="*/ 4290 w 4321"/>
                <a:gd name="T83" fmla="*/ 3879 h 14288"/>
                <a:gd name="T84" fmla="*/ 4300 w 4321"/>
                <a:gd name="T85" fmla="*/ 4838 h 14288"/>
                <a:gd name="T86" fmla="*/ 4210 w 4321"/>
                <a:gd name="T87" fmla="*/ 5014 h 14288"/>
                <a:gd name="T88" fmla="*/ 4114 w 4321"/>
                <a:gd name="T89" fmla="*/ 5130 h 14288"/>
                <a:gd name="T90" fmla="*/ 4034 w 4321"/>
                <a:gd name="T91" fmla="*/ 5235 h 14288"/>
                <a:gd name="T92" fmla="*/ 4009 w 4321"/>
                <a:gd name="T93" fmla="*/ 5371 h 14288"/>
                <a:gd name="T94" fmla="*/ 4019 w 4321"/>
                <a:gd name="T95" fmla="*/ 5531 h 14288"/>
                <a:gd name="T96" fmla="*/ 4109 w 4321"/>
                <a:gd name="T97" fmla="*/ 5712 h 14288"/>
                <a:gd name="T98" fmla="*/ 4210 w 4321"/>
                <a:gd name="T99" fmla="*/ 5818 h 14288"/>
                <a:gd name="T100" fmla="*/ 4300 w 4321"/>
                <a:gd name="T101" fmla="*/ 5964 h 14288"/>
                <a:gd name="T102" fmla="*/ 4320 w 4321"/>
                <a:gd name="T103" fmla="*/ 13699 h 14288"/>
                <a:gd name="T104" fmla="*/ 4230 w 4321"/>
                <a:gd name="T105" fmla="*/ 13895 h 14288"/>
                <a:gd name="T106" fmla="*/ 4044 w 4321"/>
                <a:gd name="T107" fmla="*/ 14082 h 14288"/>
                <a:gd name="T108" fmla="*/ 3803 w 4321"/>
                <a:gd name="T109" fmla="*/ 14202 h 14288"/>
                <a:gd name="T110" fmla="*/ 2160 w 4321"/>
                <a:gd name="T111" fmla="*/ 14287 h 14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1" h="14288">
                  <a:moveTo>
                    <a:pt x="2160" y="14287"/>
                  </a:moveTo>
                  <a:lnTo>
                    <a:pt x="879" y="14287"/>
                  </a:lnTo>
                  <a:lnTo>
                    <a:pt x="879" y="14287"/>
                  </a:lnTo>
                  <a:lnTo>
                    <a:pt x="728" y="14262"/>
                  </a:lnTo>
                  <a:lnTo>
                    <a:pt x="587" y="14227"/>
                  </a:lnTo>
                  <a:lnTo>
                    <a:pt x="517" y="14202"/>
                  </a:lnTo>
                  <a:lnTo>
                    <a:pt x="452" y="14182"/>
                  </a:lnTo>
                  <a:lnTo>
                    <a:pt x="392" y="14152"/>
                  </a:lnTo>
                  <a:lnTo>
                    <a:pt x="331" y="14121"/>
                  </a:lnTo>
                  <a:lnTo>
                    <a:pt x="276" y="14082"/>
                  </a:lnTo>
                  <a:lnTo>
                    <a:pt x="221" y="14046"/>
                  </a:lnTo>
                  <a:lnTo>
                    <a:pt x="176" y="14001"/>
                  </a:lnTo>
                  <a:lnTo>
                    <a:pt x="131" y="13951"/>
                  </a:lnTo>
                  <a:lnTo>
                    <a:pt x="90" y="13895"/>
                  </a:lnTo>
                  <a:lnTo>
                    <a:pt x="55" y="13835"/>
                  </a:lnTo>
                  <a:lnTo>
                    <a:pt x="25" y="13770"/>
                  </a:lnTo>
                  <a:lnTo>
                    <a:pt x="0" y="13699"/>
                  </a:lnTo>
                  <a:lnTo>
                    <a:pt x="0" y="6099"/>
                  </a:lnTo>
                  <a:lnTo>
                    <a:pt x="0" y="6099"/>
                  </a:lnTo>
                  <a:lnTo>
                    <a:pt x="0" y="6054"/>
                  </a:lnTo>
                  <a:lnTo>
                    <a:pt x="10" y="6009"/>
                  </a:lnTo>
                  <a:lnTo>
                    <a:pt x="20" y="5964"/>
                  </a:lnTo>
                  <a:lnTo>
                    <a:pt x="35" y="5924"/>
                  </a:lnTo>
                  <a:lnTo>
                    <a:pt x="55" y="5883"/>
                  </a:lnTo>
                  <a:lnTo>
                    <a:pt x="80" y="5848"/>
                  </a:lnTo>
                  <a:lnTo>
                    <a:pt x="110" y="5818"/>
                  </a:lnTo>
                  <a:lnTo>
                    <a:pt x="140" y="5788"/>
                  </a:lnTo>
                  <a:lnTo>
                    <a:pt x="140" y="5788"/>
                  </a:lnTo>
                  <a:lnTo>
                    <a:pt x="176" y="5748"/>
                  </a:lnTo>
                  <a:lnTo>
                    <a:pt x="211" y="5712"/>
                  </a:lnTo>
                  <a:lnTo>
                    <a:pt x="241" y="5672"/>
                  </a:lnTo>
                  <a:lnTo>
                    <a:pt x="266" y="5627"/>
                  </a:lnTo>
                  <a:lnTo>
                    <a:pt x="286" y="5582"/>
                  </a:lnTo>
                  <a:lnTo>
                    <a:pt x="301" y="5531"/>
                  </a:lnTo>
                  <a:lnTo>
                    <a:pt x="306" y="5476"/>
                  </a:lnTo>
                  <a:lnTo>
                    <a:pt x="311" y="5421"/>
                  </a:lnTo>
                  <a:lnTo>
                    <a:pt x="311" y="5371"/>
                  </a:lnTo>
                  <a:lnTo>
                    <a:pt x="311" y="5371"/>
                  </a:lnTo>
                  <a:lnTo>
                    <a:pt x="311" y="5335"/>
                  </a:lnTo>
                  <a:lnTo>
                    <a:pt x="306" y="5301"/>
                  </a:lnTo>
                  <a:lnTo>
                    <a:pt x="296" y="5265"/>
                  </a:lnTo>
                  <a:lnTo>
                    <a:pt x="281" y="5235"/>
                  </a:lnTo>
                  <a:lnTo>
                    <a:pt x="266" y="5205"/>
                  </a:lnTo>
                  <a:lnTo>
                    <a:pt x="251" y="5180"/>
                  </a:lnTo>
                  <a:lnTo>
                    <a:pt x="231" y="5155"/>
                  </a:lnTo>
                  <a:lnTo>
                    <a:pt x="206" y="5130"/>
                  </a:lnTo>
                  <a:lnTo>
                    <a:pt x="206" y="5130"/>
                  </a:lnTo>
                  <a:lnTo>
                    <a:pt x="171" y="5100"/>
                  </a:lnTo>
                  <a:lnTo>
                    <a:pt x="140" y="5059"/>
                  </a:lnTo>
                  <a:lnTo>
                    <a:pt x="105" y="5014"/>
                  </a:lnTo>
                  <a:lnTo>
                    <a:pt x="75" y="4969"/>
                  </a:lnTo>
                  <a:lnTo>
                    <a:pt x="75" y="4969"/>
                  </a:lnTo>
                  <a:lnTo>
                    <a:pt x="45" y="4904"/>
                  </a:lnTo>
                  <a:lnTo>
                    <a:pt x="20" y="4838"/>
                  </a:lnTo>
                  <a:lnTo>
                    <a:pt x="5" y="4763"/>
                  </a:lnTo>
                  <a:lnTo>
                    <a:pt x="5" y="4687"/>
                  </a:lnTo>
                  <a:lnTo>
                    <a:pt x="30" y="3879"/>
                  </a:lnTo>
                  <a:lnTo>
                    <a:pt x="30" y="3879"/>
                  </a:lnTo>
                  <a:lnTo>
                    <a:pt x="60" y="3728"/>
                  </a:lnTo>
                  <a:lnTo>
                    <a:pt x="95" y="3588"/>
                  </a:lnTo>
                  <a:lnTo>
                    <a:pt x="135" y="3447"/>
                  </a:lnTo>
                  <a:lnTo>
                    <a:pt x="181" y="3316"/>
                  </a:lnTo>
                  <a:lnTo>
                    <a:pt x="226" y="3186"/>
                  </a:lnTo>
                  <a:lnTo>
                    <a:pt x="281" y="3060"/>
                  </a:lnTo>
                  <a:lnTo>
                    <a:pt x="341" y="2940"/>
                  </a:lnTo>
                  <a:lnTo>
                    <a:pt x="407" y="2824"/>
                  </a:lnTo>
                  <a:lnTo>
                    <a:pt x="477" y="2713"/>
                  </a:lnTo>
                  <a:lnTo>
                    <a:pt x="548" y="2603"/>
                  </a:lnTo>
                  <a:lnTo>
                    <a:pt x="628" y="2497"/>
                  </a:lnTo>
                  <a:lnTo>
                    <a:pt x="713" y="2397"/>
                  </a:lnTo>
                  <a:lnTo>
                    <a:pt x="804" y="2301"/>
                  </a:lnTo>
                  <a:lnTo>
                    <a:pt x="899" y="2206"/>
                  </a:lnTo>
                  <a:lnTo>
                    <a:pt x="1000" y="2115"/>
                  </a:lnTo>
                  <a:lnTo>
                    <a:pt x="1105" y="2025"/>
                  </a:lnTo>
                  <a:lnTo>
                    <a:pt x="1105" y="2025"/>
                  </a:lnTo>
                  <a:lnTo>
                    <a:pt x="1115" y="2015"/>
                  </a:lnTo>
                  <a:lnTo>
                    <a:pt x="1125" y="2005"/>
                  </a:lnTo>
                  <a:lnTo>
                    <a:pt x="1130" y="1990"/>
                  </a:lnTo>
                  <a:lnTo>
                    <a:pt x="1130" y="1975"/>
                  </a:lnTo>
                  <a:lnTo>
                    <a:pt x="1130" y="1598"/>
                  </a:lnTo>
                  <a:lnTo>
                    <a:pt x="1130" y="1598"/>
                  </a:lnTo>
                  <a:lnTo>
                    <a:pt x="1125" y="1573"/>
                  </a:lnTo>
                  <a:lnTo>
                    <a:pt x="1115" y="1553"/>
                  </a:lnTo>
                  <a:lnTo>
                    <a:pt x="1095" y="1537"/>
                  </a:lnTo>
                  <a:lnTo>
                    <a:pt x="1075" y="1533"/>
                  </a:lnTo>
                  <a:lnTo>
                    <a:pt x="1050" y="1533"/>
                  </a:lnTo>
                  <a:lnTo>
                    <a:pt x="1050" y="1533"/>
                  </a:lnTo>
                  <a:lnTo>
                    <a:pt x="1030" y="1528"/>
                  </a:lnTo>
                  <a:lnTo>
                    <a:pt x="1009" y="1523"/>
                  </a:lnTo>
                  <a:lnTo>
                    <a:pt x="995" y="1512"/>
                  </a:lnTo>
                  <a:lnTo>
                    <a:pt x="979" y="1498"/>
                  </a:lnTo>
                  <a:lnTo>
                    <a:pt x="970" y="1482"/>
                  </a:lnTo>
                  <a:lnTo>
                    <a:pt x="959" y="1462"/>
                  </a:lnTo>
                  <a:lnTo>
                    <a:pt x="954" y="1442"/>
                  </a:lnTo>
                  <a:lnTo>
                    <a:pt x="949" y="1417"/>
                  </a:lnTo>
                  <a:lnTo>
                    <a:pt x="949" y="467"/>
                  </a:lnTo>
                  <a:lnTo>
                    <a:pt x="949" y="467"/>
                  </a:lnTo>
                  <a:lnTo>
                    <a:pt x="954" y="427"/>
                  </a:lnTo>
                  <a:lnTo>
                    <a:pt x="970" y="392"/>
                  </a:lnTo>
                  <a:lnTo>
                    <a:pt x="989" y="357"/>
                  </a:lnTo>
                  <a:lnTo>
                    <a:pt x="1015" y="332"/>
                  </a:lnTo>
                  <a:lnTo>
                    <a:pt x="1015" y="332"/>
                  </a:lnTo>
                  <a:lnTo>
                    <a:pt x="1110" y="266"/>
                  </a:lnTo>
                  <a:lnTo>
                    <a:pt x="1210" y="206"/>
                  </a:lnTo>
                  <a:lnTo>
                    <a:pt x="1316" y="161"/>
                  </a:lnTo>
                  <a:lnTo>
                    <a:pt x="1426" y="121"/>
                  </a:lnTo>
                  <a:lnTo>
                    <a:pt x="1537" y="86"/>
                  </a:lnTo>
                  <a:lnTo>
                    <a:pt x="1652" y="61"/>
                  </a:lnTo>
                  <a:lnTo>
                    <a:pt x="1768" y="41"/>
                  </a:lnTo>
                  <a:lnTo>
                    <a:pt x="1889" y="20"/>
                  </a:lnTo>
                  <a:lnTo>
                    <a:pt x="1889" y="20"/>
                  </a:lnTo>
                  <a:lnTo>
                    <a:pt x="2024" y="5"/>
                  </a:lnTo>
                  <a:lnTo>
                    <a:pt x="2160" y="0"/>
                  </a:lnTo>
                  <a:lnTo>
                    <a:pt x="2296" y="5"/>
                  </a:lnTo>
                  <a:lnTo>
                    <a:pt x="2431" y="20"/>
                  </a:lnTo>
                  <a:lnTo>
                    <a:pt x="2431" y="20"/>
                  </a:lnTo>
                  <a:lnTo>
                    <a:pt x="2547" y="41"/>
                  </a:lnTo>
                  <a:lnTo>
                    <a:pt x="2667" y="61"/>
                  </a:lnTo>
                  <a:lnTo>
                    <a:pt x="2783" y="86"/>
                  </a:lnTo>
                  <a:lnTo>
                    <a:pt x="2893" y="121"/>
                  </a:lnTo>
                  <a:lnTo>
                    <a:pt x="3004" y="161"/>
                  </a:lnTo>
                  <a:lnTo>
                    <a:pt x="3110" y="206"/>
                  </a:lnTo>
                  <a:lnTo>
                    <a:pt x="3210" y="266"/>
                  </a:lnTo>
                  <a:lnTo>
                    <a:pt x="3306" y="332"/>
                  </a:lnTo>
                  <a:lnTo>
                    <a:pt x="3306" y="332"/>
                  </a:lnTo>
                  <a:lnTo>
                    <a:pt x="3331" y="357"/>
                  </a:lnTo>
                  <a:lnTo>
                    <a:pt x="3351" y="392"/>
                  </a:lnTo>
                  <a:lnTo>
                    <a:pt x="3366" y="427"/>
                  </a:lnTo>
                  <a:lnTo>
                    <a:pt x="3366" y="467"/>
                  </a:lnTo>
                  <a:lnTo>
                    <a:pt x="3366" y="1417"/>
                  </a:lnTo>
                  <a:lnTo>
                    <a:pt x="3366" y="1417"/>
                  </a:lnTo>
                  <a:lnTo>
                    <a:pt x="3366" y="1442"/>
                  </a:lnTo>
                  <a:lnTo>
                    <a:pt x="3361" y="1462"/>
                  </a:lnTo>
                  <a:lnTo>
                    <a:pt x="3351" y="1482"/>
                  </a:lnTo>
                  <a:lnTo>
                    <a:pt x="3340" y="1498"/>
                  </a:lnTo>
                  <a:lnTo>
                    <a:pt x="3326" y="1512"/>
                  </a:lnTo>
                  <a:lnTo>
                    <a:pt x="3306" y="1523"/>
                  </a:lnTo>
                  <a:lnTo>
                    <a:pt x="3290" y="1528"/>
                  </a:lnTo>
                  <a:lnTo>
                    <a:pt x="3270" y="1533"/>
                  </a:lnTo>
                  <a:lnTo>
                    <a:pt x="3245" y="1533"/>
                  </a:lnTo>
                  <a:lnTo>
                    <a:pt x="3245" y="1533"/>
                  </a:lnTo>
                  <a:lnTo>
                    <a:pt x="3225" y="1537"/>
                  </a:lnTo>
                  <a:lnTo>
                    <a:pt x="3205" y="1553"/>
                  </a:lnTo>
                  <a:lnTo>
                    <a:pt x="3195" y="1573"/>
                  </a:lnTo>
                  <a:lnTo>
                    <a:pt x="3190" y="1598"/>
                  </a:lnTo>
                  <a:lnTo>
                    <a:pt x="3190" y="1975"/>
                  </a:lnTo>
                  <a:lnTo>
                    <a:pt x="3190" y="1975"/>
                  </a:lnTo>
                  <a:lnTo>
                    <a:pt x="3190" y="1990"/>
                  </a:lnTo>
                  <a:lnTo>
                    <a:pt x="3195" y="2005"/>
                  </a:lnTo>
                  <a:lnTo>
                    <a:pt x="3205" y="2015"/>
                  </a:lnTo>
                  <a:lnTo>
                    <a:pt x="3215" y="2025"/>
                  </a:lnTo>
                  <a:lnTo>
                    <a:pt x="3215" y="2025"/>
                  </a:lnTo>
                  <a:lnTo>
                    <a:pt x="3320" y="2115"/>
                  </a:lnTo>
                  <a:lnTo>
                    <a:pt x="3421" y="2206"/>
                  </a:lnTo>
                  <a:lnTo>
                    <a:pt x="3516" y="2301"/>
                  </a:lnTo>
                  <a:lnTo>
                    <a:pt x="3607" y="2397"/>
                  </a:lnTo>
                  <a:lnTo>
                    <a:pt x="3692" y="2497"/>
                  </a:lnTo>
                  <a:lnTo>
                    <a:pt x="3767" y="2603"/>
                  </a:lnTo>
                  <a:lnTo>
                    <a:pt x="3843" y="2713"/>
                  </a:lnTo>
                  <a:lnTo>
                    <a:pt x="3913" y="2824"/>
                  </a:lnTo>
                  <a:lnTo>
                    <a:pt x="3979" y="2940"/>
                  </a:lnTo>
                  <a:lnTo>
                    <a:pt x="4039" y="3060"/>
                  </a:lnTo>
                  <a:lnTo>
                    <a:pt x="4089" y="3186"/>
                  </a:lnTo>
                  <a:lnTo>
                    <a:pt x="4139" y="3316"/>
                  </a:lnTo>
                  <a:lnTo>
                    <a:pt x="4184" y="3447"/>
                  </a:lnTo>
                  <a:lnTo>
                    <a:pt x="4225" y="3588"/>
                  </a:lnTo>
                  <a:lnTo>
                    <a:pt x="4260" y="3728"/>
                  </a:lnTo>
                  <a:lnTo>
                    <a:pt x="4290" y="3879"/>
                  </a:lnTo>
                  <a:lnTo>
                    <a:pt x="4315" y="4687"/>
                  </a:lnTo>
                  <a:lnTo>
                    <a:pt x="4315" y="4687"/>
                  </a:lnTo>
                  <a:lnTo>
                    <a:pt x="4315" y="4763"/>
                  </a:lnTo>
                  <a:lnTo>
                    <a:pt x="4300" y="4838"/>
                  </a:lnTo>
                  <a:lnTo>
                    <a:pt x="4275" y="4904"/>
                  </a:lnTo>
                  <a:lnTo>
                    <a:pt x="4245" y="4969"/>
                  </a:lnTo>
                  <a:lnTo>
                    <a:pt x="4245" y="4969"/>
                  </a:lnTo>
                  <a:lnTo>
                    <a:pt x="4210" y="5014"/>
                  </a:lnTo>
                  <a:lnTo>
                    <a:pt x="4180" y="5059"/>
                  </a:lnTo>
                  <a:lnTo>
                    <a:pt x="4150" y="5100"/>
                  </a:lnTo>
                  <a:lnTo>
                    <a:pt x="4114" y="5130"/>
                  </a:lnTo>
                  <a:lnTo>
                    <a:pt x="4114" y="5130"/>
                  </a:lnTo>
                  <a:lnTo>
                    <a:pt x="4089" y="5155"/>
                  </a:lnTo>
                  <a:lnTo>
                    <a:pt x="4069" y="5180"/>
                  </a:lnTo>
                  <a:lnTo>
                    <a:pt x="4049" y="5205"/>
                  </a:lnTo>
                  <a:lnTo>
                    <a:pt x="4034" y="5235"/>
                  </a:lnTo>
                  <a:lnTo>
                    <a:pt x="4024" y="5265"/>
                  </a:lnTo>
                  <a:lnTo>
                    <a:pt x="4013" y="5301"/>
                  </a:lnTo>
                  <a:lnTo>
                    <a:pt x="4009" y="5335"/>
                  </a:lnTo>
                  <a:lnTo>
                    <a:pt x="4009" y="5371"/>
                  </a:lnTo>
                  <a:lnTo>
                    <a:pt x="4009" y="5421"/>
                  </a:lnTo>
                  <a:lnTo>
                    <a:pt x="4009" y="5421"/>
                  </a:lnTo>
                  <a:lnTo>
                    <a:pt x="4009" y="5476"/>
                  </a:lnTo>
                  <a:lnTo>
                    <a:pt x="4019" y="5531"/>
                  </a:lnTo>
                  <a:lnTo>
                    <a:pt x="4034" y="5582"/>
                  </a:lnTo>
                  <a:lnTo>
                    <a:pt x="4054" y="5627"/>
                  </a:lnTo>
                  <a:lnTo>
                    <a:pt x="4079" y="5672"/>
                  </a:lnTo>
                  <a:lnTo>
                    <a:pt x="4109" y="5712"/>
                  </a:lnTo>
                  <a:lnTo>
                    <a:pt x="4144" y="5748"/>
                  </a:lnTo>
                  <a:lnTo>
                    <a:pt x="4180" y="5788"/>
                  </a:lnTo>
                  <a:lnTo>
                    <a:pt x="4180" y="5788"/>
                  </a:lnTo>
                  <a:lnTo>
                    <a:pt x="4210" y="5818"/>
                  </a:lnTo>
                  <a:lnTo>
                    <a:pt x="4240" y="5848"/>
                  </a:lnTo>
                  <a:lnTo>
                    <a:pt x="4265" y="5883"/>
                  </a:lnTo>
                  <a:lnTo>
                    <a:pt x="4285" y="5924"/>
                  </a:lnTo>
                  <a:lnTo>
                    <a:pt x="4300" y="5964"/>
                  </a:lnTo>
                  <a:lnTo>
                    <a:pt x="4310" y="6009"/>
                  </a:lnTo>
                  <a:lnTo>
                    <a:pt x="4320" y="6054"/>
                  </a:lnTo>
                  <a:lnTo>
                    <a:pt x="4320" y="6099"/>
                  </a:lnTo>
                  <a:lnTo>
                    <a:pt x="4320" y="13699"/>
                  </a:lnTo>
                  <a:lnTo>
                    <a:pt x="4320" y="13699"/>
                  </a:lnTo>
                  <a:lnTo>
                    <a:pt x="4295" y="13770"/>
                  </a:lnTo>
                  <a:lnTo>
                    <a:pt x="4265" y="13835"/>
                  </a:lnTo>
                  <a:lnTo>
                    <a:pt x="4230" y="13895"/>
                  </a:lnTo>
                  <a:lnTo>
                    <a:pt x="4189" y="13951"/>
                  </a:lnTo>
                  <a:lnTo>
                    <a:pt x="4144" y="14001"/>
                  </a:lnTo>
                  <a:lnTo>
                    <a:pt x="4099" y="14046"/>
                  </a:lnTo>
                  <a:lnTo>
                    <a:pt x="4044" y="14082"/>
                  </a:lnTo>
                  <a:lnTo>
                    <a:pt x="3988" y="14121"/>
                  </a:lnTo>
                  <a:lnTo>
                    <a:pt x="3929" y="14152"/>
                  </a:lnTo>
                  <a:lnTo>
                    <a:pt x="3868" y="14182"/>
                  </a:lnTo>
                  <a:lnTo>
                    <a:pt x="3803" y="14202"/>
                  </a:lnTo>
                  <a:lnTo>
                    <a:pt x="3732" y="14227"/>
                  </a:lnTo>
                  <a:lnTo>
                    <a:pt x="3591" y="14262"/>
                  </a:lnTo>
                  <a:lnTo>
                    <a:pt x="3441" y="14287"/>
                  </a:lnTo>
                  <a:lnTo>
                    <a:pt x="2160" y="14287"/>
                  </a:lnTo>
                </a:path>
              </a:pathLst>
            </a:custGeom>
            <a:noFill/>
            <a:ln w="12700">
              <a:solidFill>
                <a:schemeClr val="bg1">
                  <a:alpha val="30000"/>
                </a:schemeClr>
              </a:solidFill>
            </a:ln>
            <a:effectLst/>
          </p:spPr>
          <p:txBody>
            <a:bodyPr wrap="none" anchor="ctr"/>
            <a:lstStyle/>
            <a:p>
              <a:endParaRPr lang="en-US" sz="1709"/>
            </a:p>
          </p:txBody>
        </p:sp>
        <p:sp>
          <p:nvSpPr>
            <p:cNvPr id="11" name="Freeform 10">
              <a:extLst>
                <a:ext uri="{FF2B5EF4-FFF2-40B4-BE49-F238E27FC236}">
                  <a16:creationId xmlns:a16="http://schemas.microsoft.com/office/drawing/2014/main" id="{D553E484-C7EF-C14F-8178-2A696F3D3D60}"/>
                </a:ext>
              </a:extLst>
            </p:cNvPr>
            <p:cNvSpPr>
              <a:spLocks noChangeArrowheads="1"/>
            </p:cNvSpPr>
            <p:nvPr/>
          </p:nvSpPr>
          <p:spPr bwMode="auto">
            <a:xfrm>
              <a:off x="7386949" y="1702899"/>
              <a:ext cx="1027013" cy="3956563"/>
            </a:xfrm>
            <a:custGeom>
              <a:avLst/>
              <a:gdLst>
                <a:gd name="T0" fmla="*/ 532 w 4064"/>
                <a:gd name="T1" fmla="*/ 15664 h 15665"/>
                <a:gd name="T2" fmla="*/ 366 w 4064"/>
                <a:gd name="T3" fmla="*/ 15654 h 15665"/>
                <a:gd name="T4" fmla="*/ 240 w 4064"/>
                <a:gd name="T5" fmla="*/ 15604 h 15665"/>
                <a:gd name="T6" fmla="*/ 140 w 4064"/>
                <a:gd name="T7" fmla="*/ 15524 h 15665"/>
                <a:gd name="T8" fmla="*/ 39 w 4064"/>
                <a:gd name="T9" fmla="*/ 15383 h 15665"/>
                <a:gd name="T10" fmla="*/ 29 w 4064"/>
                <a:gd name="T11" fmla="*/ 5452 h 15665"/>
                <a:gd name="T12" fmla="*/ 34 w 4064"/>
                <a:gd name="T13" fmla="*/ 4698 h 15665"/>
                <a:gd name="T14" fmla="*/ 70 w 4064"/>
                <a:gd name="T15" fmla="*/ 4055 h 15665"/>
                <a:gd name="T16" fmla="*/ 115 w 4064"/>
                <a:gd name="T17" fmla="*/ 3688 h 15665"/>
                <a:gd name="T18" fmla="*/ 346 w 4064"/>
                <a:gd name="T19" fmla="*/ 3125 h 15665"/>
                <a:gd name="T20" fmla="*/ 637 w 4064"/>
                <a:gd name="T21" fmla="*/ 2603 h 15665"/>
                <a:gd name="T22" fmla="*/ 858 w 4064"/>
                <a:gd name="T23" fmla="*/ 2272 h 15665"/>
                <a:gd name="T24" fmla="*/ 878 w 4064"/>
                <a:gd name="T25" fmla="*/ 1739 h 15665"/>
                <a:gd name="T26" fmla="*/ 863 w 4064"/>
                <a:gd name="T27" fmla="*/ 1679 h 15665"/>
                <a:gd name="T28" fmla="*/ 778 w 4064"/>
                <a:gd name="T29" fmla="*/ 1623 h 15665"/>
                <a:gd name="T30" fmla="*/ 723 w 4064"/>
                <a:gd name="T31" fmla="*/ 1588 h 15665"/>
                <a:gd name="T32" fmla="*/ 688 w 4064"/>
                <a:gd name="T33" fmla="*/ 1498 h 15665"/>
                <a:gd name="T34" fmla="*/ 673 w 4064"/>
                <a:gd name="T35" fmla="*/ 1382 h 15665"/>
                <a:gd name="T36" fmla="*/ 657 w 4064"/>
                <a:gd name="T37" fmla="*/ 609 h 15665"/>
                <a:gd name="T38" fmla="*/ 673 w 4064"/>
                <a:gd name="T39" fmla="*/ 312 h 15665"/>
                <a:gd name="T40" fmla="*/ 718 w 4064"/>
                <a:gd name="T41" fmla="*/ 167 h 15665"/>
                <a:gd name="T42" fmla="*/ 813 w 4064"/>
                <a:gd name="T43" fmla="*/ 76 h 15665"/>
                <a:gd name="T44" fmla="*/ 894 w 4064"/>
                <a:gd name="T45" fmla="*/ 51 h 15665"/>
                <a:gd name="T46" fmla="*/ 1752 w 4064"/>
                <a:gd name="T47" fmla="*/ 5 h 15665"/>
                <a:gd name="T48" fmla="*/ 2607 w 4064"/>
                <a:gd name="T49" fmla="*/ 16 h 15665"/>
                <a:gd name="T50" fmla="*/ 3169 w 4064"/>
                <a:gd name="T51" fmla="*/ 51 h 15665"/>
                <a:gd name="T52" fmla="*/ 3285 w 4064"/>
                <a:gd name="T53" fmla="*/ 96 h 15665"/>
                <a:gd name="T54" fmla="*/ 3365 w 4064"/>
                <a:gd name="T55" fmla="*/ 212 h 15665"/>
                <a:gd name="T56" fmla="*/ 3385 w 4064"/>
                <a:gd name="T57" fmla="*/ 312 h 15665"/>
                <a:gd name="T58" fmla="*/ 3405 w 4064"/>
                <a:gd name="T59" fmla="*/ 885 h 15665"/>
                <a:gd name="T60" fmla="*/ 3385 w 4064"/>
                <a:gd name="T61" fmla="*/ 1382 h 15665"/>
                <a:gd name="T62" fmla="*/ 3365 w 4064"/>
                <a:gd name="T63" fmla="*/ 1533 h 15665"/>
                <a:gd name="T64" fmla="*/ 3315 w 4064"/>
                <a:gd name="T65" fmla="*/ 1608 h 15665"/>
                <a:gd name="T66" fmla="*/ 3234 w 4064"/>
                <a:gd name="T67" fmla="*/ 1638 h 15665"/>
                <a:gd name="T68" fmla="*/ 3184 w 4064"/>
                <a:gd name="T69" fmla="*/ 1709 h 15665"/>
                <a:gd name="T70" fmla="*/ 3179 w 4064"/>
                <a:gd name="T71" fmla="*/ 2201 h 15665"/>
                <a:gd name="T72" fmla="*/ 3205 w 4064"/>
                <a:gd name="T73" fmla="*/ 2272 h 15665"/>
                <a:gd name="T74" fmla="*/ 3526 w 4064"/>
                <a:gd name="T75" fmla="*/ 2774 h 15665"/>
                <a:gd name="T76" fmla="*/ 3797 w 4064"/>
                <a:gd name="T77" fmla="*/ 3306 h 15665"/>
                <a:gd name="T78" fmla="*/ 3948 w 4064"/>
                <a:gd name="T79" fmla="*/ 3688 h 15665"/>
                <a:gd name="T80" fmla="*/ 4008 w 4064"/>
                <a:gd name="T81" fmla="*/ 4256 h 15665"/>
                <a:gd name="T82" fmla="*/ 4033 w 4064"/>
                <a:gd name="T83" fmla="*/ 4939 h 15665"/>
                <a:gd name="T84" fmla="*/ 4063 w 4064"/>
                <a:gd name="T85" fmla="*/ 15297 h 15665"/>
                <a:gd name="T86" fmla="*/ 3973 w 4064"/>
                <a:gd name="T87" fmla="*/ 15453 h 15665"/>
                <a:gd name="T88" fmla="*/ 3893 w 4064"/>
                <a:gd name="T89" fmla="*/ 15554 h 15665"/>
                <a:gd name="T90" fmla="*/ 3782 w 4064"/>
                <a:gd name="T91" fmla="*/ 15624 h 15665"/>
                <a:gd name="T92" fmla="*/ 3641 w 4064"/>
                <a:gd name="T93" fmla="*/ 15659 h 15665"/>
                <a:gd name="T94" fmla="*/ 3466 w 4064"/>
                <a:gd name="T95" fmla="*/ 15659 h 15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64" h="15665">
                  <a:moveTo>
                    <a:pt x="597" y="15659"/>
                  </a:moveTo>
                  <a:lnTo>
                    <a:pt x="597" y="15659"/>
                  </a:lnTo>
                  <a:lnTo>
                    <a:pt x="532" y="15664"/>
                  </a:lnTo>
                  <a:lnTo>
                    <a:pt x="472" y="15664"/>
                  </a:lnTo>
                  <a:lnTo>
                    <a:pt x="416" y="15659"/>
                  </a:lnTo>
                  <a:lnTo>
                    <a:pt x="366" y="15654"/>
                  </a:lnTo>
                  <a:lnTo>
                    <a:pt x="321" y="15639"/>
                  </a:lnTo>
                  <a:lnTo>
                    <a:pt x="281" y="15624"/>
                  </a:lnTo>
                  <a:lnTo>
                    <a:pt x="240" y="15604"/>
                  </a:lnTo>
                  <a:lnTo>
                    <a:pt x="205" y="15579"/>
                  </a:lnTo>
                  <a:lnTo>
                    <a:pt x="170" y="15554"/>
                  </a:lnTo>
                  <a:lnTo>
                    <a:pt x="140" y="15524"/>
                  </a:lnTo>
                  <a:lnTo>
                    <a:pt x="110" y="15488"/>
                  </a:lnTo>
                  <a:lnTo>
                    <a:pt x="84" y="15453"/>
                  </a:lnTo>
                  <a:lnTo>
                    <a:pt x="39" y="15383"/>
                  </a:lnTo>
                  <a:lnTo>
                    <a:pt x="0" y="15297"/>
                  </a:lnTo>
                  <a:lnTo>
                    <a:pt x="29" y="5452"/>
                  </a:lnTo>
                  <a:lnTo>
                    <a:pt x="29" y="5452"/>
                  </a:lnTo>
                  <a:lnTo>
                    <a:pt x="25" y="5190"/>
                  </a:lnTo>
                  <a:lnTo>
                    <a:pt x="29" y="4939"/>
                  </a:lnTo>
                  <a:lnTo>
                    <a:pt x="34" y="4698"/>
                  </a:lnTo>
                  <a:lnTo>
                    <a:pt x="39" y="4472"/>
                  </a:lnTo>
                  <a:lnTo>
                    <a:pt x="55" y="4256"/>
                  </a:lnTo>
                  <a:lnTo>
                    <a:pt x="70" y="4055"/>
                  </a:lnTo>
                  <a:lnTo>
                    <a:pt x="90" y="3864"/>
                  </a:lnTo>
                  <a:lnTo>
                    <a:pt x="115" y="3688"/>
                  </a:lnTo>
                  <a:lnTo>
                    <a:pt x="115" y="3688"/>
                  </a:lnTo>
                  <a:lnTo>
                    <a:pt x="185" y="3497"/>
                  </a:lnTo>
                  <a:lnTo>
                    <a:pt x="260" y="3306"/>
                  </a:lnTo>
                  <a:lnTo>
                    <a:pt x="346" y="3125"/>
                  </a:lnTo>
                  <a:lnTo>
                    <a:pt x="436" y="2950"/>
                  </a:lnTo>
                  <a:lnTo>
                    <a:pt x="537" y="2774"/>
                  </a:lnTo>
                  <a:lnTo>
                    <a:pt x="637" y="2603"/>
                  </a:lnTo>
                  <a:lnTo>
                    <a:pt x="748" y="2437"/>
                  </a:lnTo>
                  <a:lnTo>
                    <a:pt x="858" y="2272"/>
                  </a:lnTo>
                  <a:lnTo>
                    <a:pt x="858" y="2272"/>
                  </a:lnTo>
                  <a:lnTo>
                    <a:pt x="873" y="2241"/>
                  </a:lnTo>
                  <a:lnTo>
                    <a:pt x="878" y="2201"/>
                  </a:lnTo>
                  <a:lnTo>
                    <a:pt x="878" y="1739"/>
                  </a:lnTo>
                  <a:lnTo>
                    <a:pt x="878" y="1739"/>
                  </a:lnTo>
                  <a:lnTo>
                    <a:pt x="878" y="1709"/>
                  </a:lnTo>
                  <a:lnTo>
                    <a:pt x="863" y="1679"/>
                  </a:lnTo>
                  <a:lnTo>
                    <a:pt x="848" y="1654"/>
                  </a:lnTo>
                  <a:lnTo>
                    <a:pt x="823" y="1638"/>
                  </a:lnTo>
                  <a:lnTo>
                    <a:pt x="778" y="1623"/>
                  </a:lnTo>
                  <a:lnTo>
                    <a:pt x="778" y="1623"/>
                  </a:lnTo>
                  <a:lnTo>
                    <a:pt x="748" y="1608"/>
                  </a:lnTo>
                  <a:lnTo>
                    <a:pt x="723" y="1588"/>
                  </a:lnTo>
                  <a:lnTo>
                    <a:pt x="707" y="1563"/>
                  </a:lnTo>
                  <a:lnTo>
                    <a:pt x="693" y="1533"/>
                  </a:lnTo>
                  <a:lnTo>
                    <a:pt x="688" y="1498"/>
                  </a:lnTo>
                  <a:lnTo>
                    <a:pt x="682" y="1463"/>
                  </a:lnTo>
                  <a:lnTo>
                    <a:pt x="673" y="1382"/>
                  </a:lnTo>
                  <a:lnTo>
                    <a:pt x="673" y="1382"/>
                  </a:lnTo>
                  <a:lnTo>
                    <a:pt x="662" y="1141"/>
                  </a:lnTo>
                  <a:lnTo>
                    <a:pt x="657" y="885"/>
                  </a:lnTo>
                  <a:lnTo>
                    <a:pt x="657" y="609"/>
                  </a:lnTo>
                  <a:lnTo>
                    <a:pt x="662" y="463"/>
                  </a:lnTo>
                  <a:lnTo>
                    <a:pt x="673" y="312"/>
                  </a:lnTo>
                  <a:lnTo>
                    <a:pt x="673" y="312"/>
                  </a:lnTo>
                  <a:lnTo>
                    <a:pt x="682" y="262"/>
                  </a:lnTo>
                  <a:lnTo>
                    <a:pt x="698" y="212"/>
                  </a:lnTo>
                  <a:lnTo>
                    <a:pt x="718" y="167"/>
                  </a:lnTo>
                  <a:lnTo>
                    <a:pt x="743" y="131"/>
                  </a:lnTo>
                  <a:lnTo>
                    <a:pt x="773" y="96"/>
                  </a:lnTo>
                  <a:lnTo>
                    <a:pt x="813" y="76"/>
                  </a:lnTo>
                  <a:lnTo>
                    <a:pt x="848" y="56"/>
                  </a:lnTo>
                  <a:lnTo>
                    <a:pt x="894" y="51"/>
                  </a:lnTo>
                  <a:lnTo>
                    <a:pt x="894" y="51"/>
                  </a:lnTo>
                  <a:lnTo>
                    <a:pt x="1180" y="31"/>
                  </a:lnTo>
                  <a:lnTo>
                    <a:pt x="1466" y="16"/>
                  </a:lnTo>
                  <a:lnTo>
                    <a:pt x="1752" y="5"/>
                  </a:lnTo>
                  <a:lnTo>
                    <a:pt x="2039" y="0"/>
                  </a:lnTo>
                  <a:lnTo>
                    <a:pt x="2325" y="5"/>
                  </a:lnTo>
                  <a:lnTo>
                    <a:pt x="2607" y="16"/>
                  </a:lnTo>
                  <a:lnTo>
                    <a:pt x="2888" y="31"/>
                  </a:lnTo>
                  <a:lnTo>
                    <a:pt x="3169" y="51"/>
                  </a:lnTo>
                  <a:lnTo>
                    <a:pt x="3169" y="51"/>
                  </a:lnTo>
                  <a:lnTo>
                    <a:pt x="3209" y="56"/>
                  </a:lnTo>
                  <a:lnTo>
                    <a:pt x="3250" y="76"/>
                  </a:lnTo>
                  <a:lnTo>
                    <a:pt x="3285" y="96"/>
                  </a:lnTo>
                  <a:lnTo>
                    <a:pt x="3315" y="131"/>
                  </a:lnTo>
                  <a:lnTo>
                    <a:pt x="3345" y="167"/>
                  </a:lnTo>
                  <a:lnTo>
                    <a:pt x="3365" y="212"/>
                  </a:lnTo>
                  <a:lnTo>
                    <a:pt x="3380" y="262"/>
                  </a:lnTo>
                  <a:lnTo>
                    <a:pt x="3385" y="312"/>
                  </a:lnTo>
                  <a:lnTo>
                    <a:pt x="3385" y="312"/>
                  </a:lnTo>
                  <a:lnTo>
                    <a:pt x="3395" y="463"/>
                  </a:lnTo>
                  <a:lnTo>
                    <a:pt x="3401" y="609"/>
                  </a:lnTo>
                  <a:lnTo>
                    <a:pt x="3405" y="885"/>
                  </a:lnTo>
                  <a:lnTo>
                    <a:pt x="3401" y="1141"/>
                  </a:lnTo>
                  <a:lnTo>
                    <a:pt x="3385" y="1382"/>
                  </a:lnTo>
                  <a:lnTo>
                    <a:pt x="3385" y="1382"/>
                  </a:lnTo>
                  <a:lnTo>
                    <a:pt x="3380" y="1463"/>
                  </a:lnTo>
                  <a:lnTo>
                    <a:pt x="3375" y="1498"/>
                  </a:lnTo>
                  <a:lnTo>
                    <a:pt x="3365" y="1533"/>
                  </a:lnTo>
                  <a:lnTo>
                    <a:pt x="3355" y="1563"/>
                  </a:lnTo>
                  <a:lnTo>
                    <a:pt x="3335" y="1588"/>
                  </a:lnTo>
                  <a:lnTo>
                    <a:pt x="3315" y="1608"/>
                  </a:lnTo>
                  <a:lnTo>
                    <a:pt x="3285" y="1623"/>
                  </a:lnTo>
                  <a:lnTo>
                    <a:pt x="3234" y="1638"/>
                  </a:lnTo>
                  <a:lnTo>
                    <a:pt x="3234" y="1638"/>
                  </a:lnTo>
                  <a:lnTo>
                    <a:pt x="3214" y="1654"/>
                  </a:lnTo>
                  <a:lnTo>
                    <a:pt x="3194" y="1679"/>
                  </a:lnTo>
                  <a:lnTo>
                    <a:pt x="3184" y="1709"/>
                  </a:lnTo>
                  <a:lnTo>
                    <a:pt x="3179" y="1739"/>
                  </a:lnTo>
                  <a:lnTo>
                    <a:pt x="3179" y="2201"/>
                  </a:lnTo>
                  <a:lnTo>
                    <a:pt x="3179" y="2201"/>
                  </a:lnTo>
                  <a:lnTo>
                    <a:pt x="3184" y="2241"/>
                  </a:lnTo>
                  <a:lnTo>
                    <a:pt x="3205" y="2272"/>
                  </a:lnTo>
                  <a:lnTo>
                    <a:pt x="3205" y="2272"/>
                  </a:lnTo>
                  <a:lnTo>
                    <a:pt x="3315" y="2437"/>
                  </a:lnTo>
                  <a:lnTo>
                    <a:pt x="3421" y="2603"/>
                  </a:lnTo>
                  <a:lnTo>
                    <a:pt x="3526" y="2774"/>
                  </a:lnTo>
                  <a:lnTo>
                    <a:pt x="3622" y="2950"/>
                  </a:lnTo>
                  <a:lnTo>
                    <a:pt x="3712" y="3125"/>
                  </a:lnTo>
                  <a:lnTo>
                    <a:pt x="3797" y="3306"/>
                  </a:lnTo>
                  <a:lnTo>
                    <a:pt x="3878" y="3497"/>
                  </a:lnTo>
                  <a:lnTo>
                    <a:pt x="3948" y="3688"/>
                  </a:lnTo>
                  <a:lnTo>
                    <a:pt x="3948" y="3688"/>
                  </a:lnTo>
                  <a:lnTo>
                    <a:pt x="3973" y="3864"/>
                  </a:lnTo>
                  <a:lnTo>
                    <a:pt x="3988" y="4055"/>
                  </a:lnTo>
                  <a:lnTo>
                    <a:pt x="4008" y="4256"/>
                  </a:lnTo>
                  <a:lnTo>
                    <a:pt x="4018" y="4472"/>
                  </a:lnTo>
                  <a:lnTo>
                    <a:pt x="4028" y="4698"/>
                  </a:lnTo>
                  <a:lnTo>
                    <a:pt x="4033" y="4939"/>
                  </a:lnTo>
                  <a:lnTo>
                    <a:pt x="4033" y="5190"/>
                  </a:lnTo>
                  <a:lnTo>
                    <a:pt x="4033" y="5452"/>
                  </a:lnTo>
                  <a:lnTo>
                    <a:pt x="4063" y="15297"/>
                  </a:lnTo>
                  <a:lnTo>
                    <a:pt x="4063" y="15297"/>
                  </a:lnTo>
                  <a:lnTo>
                    <a:pt x="4023" y="15383"/>
                  </a:lnTo>
                  <a:lnTo>
                    <a:pt x="3973" y="15453"/>
                  </a:lnTo>
                  <a:lnTo>
                    <a:pt x="3948" y="15488"/>
                  </a:lnTo>
                  <a:lnTo>
                    <a:pt x="3923" y="15524"/>
                  </a:lnTo>
                  <a:lnTo>
                    <a:pt x="3893" y="15554"/>
                  </a:lnTo>
                  <a:lnTo>
                    <a:pt x="3857" y="15579"/>
                  </a:lnTo>
                  <a:lnTo>
                    <a:pt x="3823" y="15604"/>
                  </a:lnTo>
                  <a:lnTo>
                    <a:pt x="3782" y="15624"/>
                  </a:lnTo>
                  <a:lnTo>
                    <a:pt x="3737" y="15639"/>
                  </a:lnTo>
                  <a:lnTo>
                    <a:pt x="3692" y="15654"/>
                  </a:lnTo>
                  <a:lnTo>
                    <a:pt x="3641" y="15659"/>
                  </a:lnTo>
                  <a:lnTo>
                    <a:pt x="3586" y="15664"/>
                  </a:lnTo>
                  <a:lnTo>
                    <a:pt x="3531" y="15664"/>
                  </a:lnTo>
                  <a:lnTo>
                    <a:pt x="3466" y="15659"/>
                  </a:lnTo>
                  <a:lnTo>
                    <a:pt x="597" y="15659"/>
                  </a:lnTo>
                </a:path>
              </a:pathLst>
            </a:custGeom>
            <a:noFill/>
            <a:ln w="12700">
              <a:solidFill>
                <a:schemeClr val="bg1">
                  <a:alpha val="30000"/>
                </a:schemeClr>
              </a:solidFill>
            </a:ln>
            <a:effectLst/>
          </p:spPr>
          <p:txBody>
            <a:bodyPr wrap="none" anchor="ctr"/>
            <a:lstStyle/>
            <a:p>
              <a:endParaRPr lang="en-US" sz="1709"/>
            </a:p>
          </p:txBody>
        </p:sp>
        <p:sp>
          <p:nvSpPr>
            <p:cNvPr id="12" name="Freeform 11">
              <a:extLst>
                <a:ext uri="{FF2B5EF4-FFF2-40B4-BE49-F238E27FC236}">
                  <a16:creationId xmlns:a16="http://schemas.microsoft.com/office/drawing/2014/main" id="{8BC78292-2A03-F04A-A6D1-332228F8707F}"/>
                </a:ext>
              </a:extLst>
            </p:cNvPr>
            <p:cNvSpPr>
              <a:spLocks noChangeArrowheads="1"/>
            </p:cNvSpPr>
            <p:nvPr/>
          </p:nvSpPr>
          <p:spPr bwMode="auto">
            <a:xfrm>
              <a:off x="4987615" y="1249543"/>
              <a:ext cx="1285437" cy="4573662"/>
            </a:xfrm>
            <a:custGeom>
              <a:avLst/>
              <a:gdLst>
                <a:gd name="T0" fmla="*/ 693 w 5090"/>
                <a:gd name="T1" fmla="*/ 18085 h 18106"/>
                <a:gd name="T2" fmla="*/ 357 w 5090"/>
                <a:gd name="T3" fmla="*/ 17965 h 18106"/>
                <a:gd name="T4" fmla="*/ 116 w 5090"/>
                <a:gd name="T5" fmla="*/ 17739 h 18106"/>
                <a:gd name="T6" fmla="*/ 20 w 5090"/>
                <a:gd name="T7" fmla="*/ 16734 h 18106"/>
                <a:gd name="T8" fmla="*/ 71 w 5090"/>
                <a:gd name="T9" fmla="*/ 16608 h 18106"/>
                <a:gd name="T10" fmla="*/ 20 w 5090"/>
                <a:gd name="T11" fmla="*/ 16397 h 18106"/>
                <a:gd name="T12" fmla="*/ 136 w 5090"/>
                <a:gd name="T13" fmla="*/ 14704 h 18106"/>
                <a:gd name="T14" fmla="*/ 397 w 5090"/>
                <a:gd name="T15" fmla="*/ 13111 h 18106"/>
                <a:gd name="T16" fmla="*/ 447 w 5090"/>
                <a:gd name="T17" fmla="*/ 11243 h 18106"/>
                <a:gd name="T18" fmla="*/ 277 w 5090"/>
                <a:gd name="T19" fmla="*/ 9274 h 18106"/>
                <a:gd name="T20" fmla="*/ 91 w 5090"/>
                <a:gd name="T21" fmla="*/ 8164 h 18106"/>
                <a:gd name="T22" fmla="*/ 0 w 5090"/>
                <a:gd name="T23" fmla="*/ 6983 h 18106"/>
                <a:gd name="T24" fmla="*/ 61 w 5090"/>
                <a:gd name="T25" fmla="*/ 5813 h 18106"/>
                <a:gd name="T26" fmla="*/ 216 w 5090"/>
                <a:gd name="T27" fmla="*/ 5004 h 18106"/>
                <a:gd name="T28" fmla="*/ 478 w 5090"/>
                <a:gd name="T29" fmla="*/ 4476 h 18106"/>
                <a:gd name="T30" fmla="*/ 830 w 5090"/>
                <a:gd name="T31" fmla="*/ 3994 h 18106"/>
                <a:gd name="T32" fmla="*/ 1277 w 5090"/>
                <a:gd name="T33" fmla="*/ 3547 h 18106"/>
                <a:gd name="T34" fmla="*/ 1252 w 5090"/>
                <a:gd name="T35" fmla="*/ 3276 h 18106"/>
                <a:gd name="T36" fmla="*/ 1106 w 5090"/>
                <a:gd name="T37" fmla="*/ 3125 h 18106"/>
                <a:gd name="T38" fmla="*/ 1065 w 5090"/>
                <a:gd name="T39" fmla="*/ 2311 h 18106"/>
                <a:gd name="T40" fmla="*/ 1126 w 5090"/>
                <a:gd name="T41" fmla="*/ 1793 h 18106"/>
                <a:gd name="T42" fmla="*/ 1201 w 5090"/>
                <a:gd name="T43" fmla="*/ 1618 h 18106"/>
                <a:gd name="T44" fmla="*/ 1537 w 5090"/>
                <a:gd name="T45" fmla="*/ 1597 h 18106"/>
                <a:gd name="T46" fmla="*/ 1573 w 5090"/>
                <a:gd name="T47" fmla="*/ 1351 h 18106"/>
                <a:gd name="T48" fmla="*/ 1668 w 5090"/>
                <a:gd name="T49" fmla="*/ 1161 h 18106"/>
                <a:gd name="T50" fmla="*/ 1764 w 5090"/>
                <a:gd name="T51" fmla="*/ 935 h 18106"/>
                <a:gd name="T52" fmla="*/ 1738 w 5090"/>
                <a:gd name="T53" fmla="*/ 327 h 18106"/>
                <a:gd name="T54" fmla="*/ 1779 w 5090"/>
                <a:gd name="T55" fmla="*/ 46 h 18106"/>
                <a:gd name="T56" fmla="*/ 2543 w 5090"/>
                <a:gd name="T57" fmla="*/ 0 h 18106"/>
                <a:gd name="T58" fmla="*/ 3286 w 5090"/>
                <a:gd name="T59" fmla="*/ 20 h 18106"/>
                <a:gd name="T60" fmla="*/ 3336 w 5090"/>
                <a:gd name="T61" fmla="*/ 201 h 18106"/>
                <a:gd name="T62" fmla="*/ 3341 w 5090"/>
                <a:gd name="T63" fmla="*/ 814 h 18106"/>
                <a:gd name="T64" fmla="*/ 3387 w 5090"/>
                <a:gd name="T65" fmla="*/ 1125 h 18106"/>
                <a:gd name="T66" fmla="*/ 3507 w 5090"/>
                <a:gd name="T67" fmla="*/ 1312 h 18106"/>
                <a:gd name="T68" fmla="*/ 3532 w 5090"/>
                <a:gd name="T69" fmla="*/ 1588 h 18106"/>
                <a:gd name="T70" fmla="*/ 3869 w 5090"/>
                <a:gd name="T71" fmla="*/ 1608 h 18106"/>
                <a:gd name="T72" fmla="*/ 3939 w 5090"/>
                <a:gd name="T73" fmla="*/ 1723 h 18106"/>
                <a:gd name="T74" fmla="*/ 4010 w 5090"/>
                <a:gd name="T75" fmla="*/ 2125 h 18106"/>
                <a:gd name="T76" fmla="*/ 3979 w 5090"/>
                <a:gd name="T77" fmla="*/ 3125 h 18106"/>
                <a:gd name="T78" fmla="*/ 3859 w 5090"/>
                <a:gd name="T79" fmla="*/ 3240 h 18106"/>
                <a:gd name="T80" fmla="*/ 3814 w 5090"/>
                <a:gd name="T81" fmla="*/ 3547 h 18106"/>
                <a:gd name="T82" fmla="*/ 4175 w 5090"/>
                <a:gd name="T83" fmla="*/ 3903 h 18106"/>
                <a:gd name="T84" fmla="*/ 4547 w 5090"/>
                <a:gd name="T85" fmla="*/ 4376 h 18106"/>
                <a:gd name="T86" fmla="*/ 4828 w 5090"/>
                <a:gd name="T87" fmla="*/ 4893 h 18106"/>
                <a:gd name="T88" fmla="*/ 4994 w 5090"/>
                <a:gd name="T89" fmla="*/ 5577 h 18106"/>
                <a:gd name="T90" fmla="*/ 5089 w 5090"/>
                <a:gd name="T91" fmla="*/ 6752 h 18106"/>
                <a:gd name="T92" fmla="*/ 5029 w 5090"/>
                <a:gd name="T93" fmla="*/ 7928 h 18106"/>
                <a:gd name="T94" fmla="*/ 4868 w 5090"/>
                <a:gd name="T95" fmla="*/ 8872 h 18106"/>
                <a:gd name="T96" fmla="*/ 4658 w 5090"/>
                <a:gd name="T97" fmla="*/ 10855 h 18106"/>
                <a:gd name="T98" fmla="*/ 4662 w 5090"/>
                <a:gd name="T99" fmla="*/ 12745 h 18106"/>
                <a:gd name="T100" fmla="*/ 4913 w 5090"/>
                <a:gd name="T101" fmla="*/ 14533 h 18106"/>
                <a:gd name="T102" fmla="*/ 5064 w 5090"/>
                <a:gd name="T103" fmla="*/ 16397 h 18106"/>
                <a:gd name="T104" fmla="*/ 5014 w 5090"/>
                <a:gd name="T105" fmla="*/ 16563 h 18106"/>
                <a:gd name="T106" fmla="*/ 5069 w 5090"/>
                <a:gd name="T107" fmla="*/ 16734 h 18106"/>
                <a:gd name="T108" fmla="*/ 5004 w 5090"/>
                <a:gd name="T109" fmla="*/ 17673 h 18106"/>
                <a:gd name="T110" fmla="*/ 4788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3" y="18105"/>
                  </a:moveTo>
                  <a:lnTo>
                    <a:pt x="855" y="18105"/>
                  </a:lnTo>
                  <a:lnTo>
                    <a:pt x="855" y="18105"/>
                  </a:lnTo>
                  <a:lnTo>
                    <a:pt x="774" y="18095"/>
                  </a:lnTo>
                  <a:lnTo>
                    <a:pt x="693" y="18085"/>
                  </a:lnTo>
                  <a:lnTo>
                    <a:pt x="623" y="18070"/>
                  </a:lnTo>
                  <a:lnTo>
                    <a:pt x="548" y="18050"/>
                  </a:lnTo>
                  <a:lnTo>
                    <a:pt x="483" y="18025"/>
                  </a:lnTo>
                  <a:lnTo>
                    <a:pt x="417" y="18000"/>
                  </a:lnTo>
                  <a:lnTo>
                    <a:pt x="357" y="17965"/>
                  </a:lnTo>
                  <a:lnTo>
                    <a:pt x="302" y="17929"/>
                  </a:lnTo>
                  <a:lnTo>
                    <a:pt x="246" y="17889"/>
                  </a:lnTo>
                  <a:lnTo>
                    <a:pt x="201" y="17844"/>
                  </a:lnTo>
                  <a:lnTo>
                    <a:pt x="156" y="17794"/>
                  </a:lnTo>
                  <a:lnTo>
                    <a:pt x="116" y="17739"/>
                  </a:lnTo>
                  <a:lnTo>
                    <a:pt x="86" y="17673"/>
                  </a:lnTo>
                  <a:lnTo>
                    <a:pt x="56" y="17608"/>
                  </a:lnTo>
                  <a:lnTo>
                    <a:pt x="36" y="17532"/>
                  </a:lnTo>
                  <a:lnTo>
                    <a:pt x="20" y="17452"/>
                  </a:lnTo>
                  <a:lnTo>
                    <a:pt x="20" y="16734"/>
                  </a:lnTo>
                  <a:lnTo>
                    <a:pt x="20" y="16729"/>
                  </a:lnTo>
                  <a:lnTo>
                    <a:pt x="20" y="16729"/>
                  </a:lnTo>
                  <a:lnTo>
                    <a:pt x="46" y="16688"/>
                  </a:lnTo>
                  <a:lnTo>
                    <a:pt x="61" y="16649"/>
                  </a:lnTo>
                  <a:lnTo>
                    <a:pt x="71" y="16608"/>
                  </a:lnTo>
                  <a:lnTo>
                    <a:pt x="71" y="16563"/>
                  </a:lnTo>
                  <a:lnTo>
                    <a:pt x="71" y="16523"/>
                  </a:lnTo>
                  <a:lnTo>
                    <a:pt x="61" y="16478"/>
                  </a:lnTo>
                  <a:lnTo>
                    <a:pt x="46" y="16437"/>
                  </a:lnTo>
                  <a:lnTo>
                    <a:pt x="20" y="16397"/>
                  </a:lnTo>
                  <a:lnTo>
                    <a:pt x="20" y="16397"/>
                  </a:lnTo>
                  <a:lnTo>
                    <a:pt x="20" y="15508"/>
                  </a:lnTo>
                  <a:lnTo>
                    <a:pt x="91" y="14875"/>
                  </a:lnTo>
                  <a:lnTo>
                    <a:pt x="91" y="14875"/>
                  </a:lnTo>
                  <a:lnTo>
                    <a:pt x="136" y="14704"/>
                  </a:lnTo>
                  <a:lnTo>
                    <a:pt x="176" y="14533"/>
                  </a:lnTo>
                  <a:lnTo>
                    <a:pt x="246" y="14181"/>
                  </a:lnTo>
                  <a:lnTo>
                    <a:pt x="307" y="13830"/>
                  </a:lnTo>
                  <a:lnTo>
                    <a:pt x="357" y="13474"/>
                  </a:lnTo>
                  <a:lnTo>
                    <a:pt x="397" y="13111"/>
                  </a:lnTo>
                  <a:lnTo>
                    <a:pt x="428" y="12745"/>
                  </a:lnTo>
                  <a:lnTo>
                    <a:pt x="447" y="12378"/>
                  </a:lnTo>
                  <a:lnTo>
                    <a:pt x="458" y="12001"/>
                  </a:lnTo>
                  <a:lnTo>
                    <a:pt x="458" y="11624"/>
                  </a:lnTo>
                  <a:lnTo>
                    <a:pt x="447" y="11243"/>
                  </a:lnTo>
                  <a:lnTo>
                    <a:pt x="433" y="10855"/>
                  </a:lnTo>
                  <a:lnTo>
                    <a:pt x="402" y="10464"/>
                  </a:lnTo>
                  <a:lnTo>
                    <a:pt x="372" y="10072"/>
                  </a:lnTo>
                  <a:lnTo>
                    <a:pt x="327" y="9676"/>
                  </a:lnTo>
                  <a:lnTo>
                    <a:pt x="277" y="9274"/>
                  </a:lnTo>
                  <a:lnTo>
                    <a:pt x="221" y="8872"/>
                  </a:lnTo>
                  <a:lnTo>
                    <a:pt x="221" y="8872"/>
                  </a:lnTo>
                  <a:lnTo>
                    <a:pt x="171" y="8636"/>
                  </a:lnTo>
                  <a:lnTo>
                    <a:pt x="126" y="8400"/>
                  </a:lnTo>
                  <a:lnTo>
                    <a:pt x="91" y="8164"/>
                  </a:lnTo>
                  <a:lnTo>
                    <a:pt x="61" y="7928"/>
                  </a:lnTo>
                  <a:lnTo>
                    <a:pt x="36" y="7692"/>
                  </a:lnTo>
                  <a:lnTo>
                    <a:pt x="16" y="7455"/>
                  </a:lnTo>
                  <a:lnTo>
                    <a:pt x="6" y="7220"/>
                  </a:lnTo>
                  <a:lnTo>
                    <a:pt x="0" y="6983"/>
                  </a:lnTo>
                  <a:lnTo>
                    <a:pt x="0" y="6752"/>
                  </a:lnTo>
                  <a:lnTo>
                    <a:pt x="6" y="6516"/>
                  </a:lnTo>
                  <a:lnTo>
                    <a:pt x="16" y="6280"/>
                  </a:lnTo>
                  <a:lnTo>
                    <a:pt x="36" y="6049"/>
                  </a:lnTo>
                  <a:lnTo>
                    <a:pt x="61" y="5813"/>
                  </a:lnTo>
                  <a:lnTo>
                    <a:pt x="96" y="5577"/>
                  </a:lnTo>
                  <a:lnTo>
                    <a:pt x="131" y="5345"/>
                  </a:lnTo>
                  <a:lnTo>
                    <a:pt x="176" y="5110"/>
                  </a:lnTo>
                  <a:lnTo>
                    <a:pt x="176" y="5110"/>
                  </a:lnTo>
                  <a:lnTo>
                    <a:pt x="216" y="5004"/>
                  </a:lnTo>
                  <a:lnTo>
                    <a:pt x="262" y="4893"/>
                  </a:lnTo>
                  <a:lnTo>
                    <a:pt x="307" y="4788"/>
                  </a:lnTo>
                  <a:lnTo>
                    <a:pt x="362" y="4682"/>
                  </a:lnTo>
                  <a:lnTo>
                    <a:pt x="417" y="4577"/>
                  </a:lnTo>
                  <a:lnTo>
                    <a:pt x="478" y="4476"/>
                  </a:lnTo>
                  <a:lnTo>
                    <a:pt x="538" y="4376"/>
                  </a:lnTo>
                  <a:lnTo>
                    <a:pt x="609" y="4280"/>
                  </a:lnTo>
                  <a:lnTo>
                    <a:pt x="679" y="4185"/>
                  </a:lnTo>
                  <a:lnTo>
                    <a:pt x="754" y="4090"/>
                  </a:lnTo>
                  <a:lnTo>
                    <a:pt x="830" y="3994"/>
                  </a:lnTo>
                  <a:lnTo>
                    <a:pt x="915" y="3903"/>
                  </a:lnTo>
                  <a:lnTo>
                    <a:pt x="1000" y="3813"/>
                  </a:lnTo>
                  <a:lnTo>
                    <a:pt x="1090" y="3723"/>
                  </a:lnTo>
                  <a:lnTo>
                    <a:pt x="1181" y="3632"/>
                  </a:lnTo>
                  <a:lnTo>
                    <a:pt x="1277" y="3547"/>
                  </a:lnTo>
                  <a:lnTo>
                    <a:pt x="1277" y="3401"/>
                  </a:lnTo>
                  <a:lnTo>
                    <a:pt x="1277" y="3401"/>
                  </a:lnTo>
                  <a:lnTo>
                    <a:pt x="1271" y="3356"/>
                  </a:lnTo>
                  <a:lnTo>
                    <a:pt x="1266" y="3316"/>
                  </a:lnTo>
                  <a:lnTo>
                    <a:pt x="1252" y="3276"/>
                  </a:lnTo>
                  <a:lnTo>
                    <a:pt x="1231" y="3240"/>
                  </a:lnTo>
                  <a:lnTo>
                    <a:pt x="1206" y="3205"/>
                  </a:lnTo>
                  <a:lnTo>
                    <a:pt x="1176" y="3175"/>
                  </a:lnTo>
                  <a:lnTo>
                    <a:pt x="1146" y="3145"/>
                  </a:lnTo>
                  <a:lnTo>
                    <a:pt x="1106" y="3125"/>
                  </a:lnTo>
                  <a:lnTo>
                    <a:pt x="1106" y="3125"/>
                  </a:lnTo>
                  <a:lnTo>
                    <a:pt x="1086" y="2914"/>
                  </a:lnTo>
                  <a:lnTo>
                    <a:pt x="1076" y="2708"/>
                  </a:lnTo>
                  <a:lnTo>
                    <a:pt x="1065" y="2502"/>
                  </a:lnTo>
                  <a:lnTo>
                    <a:pt x="1065" y="2311"/>
                  </a:lnTo>
                  <a:lnTo>
                    <a:pt x="1076" y="2125"/>
                  </a:lnTo>
                  <a:lnTo>
                    <a:pt x="1086" y="2040"/>
                  </a:lnTo>
                  <a:lnTo>
                    <a:pt x="1096" y="1955"/>
                  </a:lnTo>
                  <a:lnTo>
                    <a:pt x="1111" y="1874"/>
                  </a:lnTo>
                  <a:lnTo>
                    <a:pt x="1126" y="1793"/>
                  </a:lnTo>
                  <a:lnTo>
                    <a:pt x="1146" y="1723"/>
                  </a:lnTo>
                  <a:lnTo>
                    <a:pt x="1171" y="1653"/>
                  </a:lnTo>
                  <a:lnTo>
                    <a:pt x="1171" y="1653"/>
                  </a:lnTo>
                  <a:lnTo>
                    <a:pt x="1181" y="1633"/>
                  </a:lnTo>
                  <a:lnTo>
                    <a:pt x="1201" y="1618"/>
                  </a:lnTo>
                  <a:lnTo>
                    <a:pt x="1221" y="1608"/>
                  </a:lnTo>
                  <a:lnTo>
                    <a:pt x="1241" y="1603"/>
                  </a:lnTo>
                  <a:lnTo>
                    <a:pt x="1512" y="1603"/>
                  </a:lnTo>
                  <a:lnTo>
                    <a:pt x="1512" y="1603"/>
                  </a:lnTo>
                  <a:lnTo>
                    <a:pt x="1537" y="1597"/>
                  </a:lnTo>
                  <a:lnTo>
                    <a:pt x="1553" y="1588"/>
                  </a:lnTo>
                  <a:lnTo>
                    <a:pt x="1568" y="1567"/>
                  </a:lnTo>
                  <a:lnTo>
                    <a:pt x="1573" y="1542"/>
                  </a:lnTo>
                  <a:lnTo>
                    <a:pt x="1573" y="1351"/>
                  </a:lnTo>
                  <a:lnTo>
                    <a:pt x="1573" y="1351"/>
                  </a:lnTo>
                  <a:lnTo>
                    <a:pt x="1578" y="1312"/>
                  </a:lnTo>
                  <a:lnTo>
                    <a:pt x="1593" y="1271"/>
                  </a:lnTo>
                  <a:lnTo>
                    <a:pt x="1613" y="1236"/>
                  </a:lnTo>
                  <a:lnTo>
                    <a:pt x="1638" y="1196"/>
                  </a:lnTo>
                  <a:lnTo>
                    <a:pt x="1668" y="1161"/>
                  </a:lnTo>
                  <a:lnTo>
                    <a:pt x="1704" y="1125"/>
                  </a:lnTo>
                  <a:lnTo>
                    <a:pt x="1738" y="1090"/>
                  </a:lnTo>
                  <a:lnTo>
                    <a:pt x="1784" y="1055"/>
                  </a:lnTo>
                  <a:lnTo>
                    <a:pt x="1784" y="1055"/>
                  </a:lnTo>
                  <a:lnTo>
                    <a:pt x="1764" y="935"/>
                  </a:lnTo>
                  <a:lnTo>
                    <a:pt x="1744" y="814"/>
                  </a:lnTo>
                  <a:lnTo>
                    <a:pt x="1734" y="694"/>
                  </a:lnTo>
                  <a:lnTo>
                    <a:pt x="1729" y="568"/>
                  </a:lnTo>
                  <a:lnTo>
                    <a:pt x="1734" y="447"/>
                  </a:lnTo>
                  <a:lnTo>
                    <a:pt x="1738" y="327"/>
                  </a:lnTo>
                  <a:lnTo>
                    <a:pt x="1749" y="201"/>
                  </a:lnTo>
                  <a:lnTo>
                    <a:pt x="1769" y="80"/>
                  </a:lnTo>
                  <a:lnTo>
                    <a:pt x="1769" y="80"/>
                  </a:lnTo>
                  <a:lnTo>
                    <a:pt x="1774" y="60"/>
                  </a:lnTo>
                  <a:lnTo>
                    <a:pt x="1779" y="46"/>
                  </a:lnTo>
                  <a:lnTo>
                    <a:pt x="1804" y="20"/>
                  </a:lnTo>
                  <a:lnTo>
                    <a:pt x="1829" y="5"/>
                  </a:lnTo>
                  <a:lnTo>
                    <a:pt x="1849" y="0"/>
                  </a:lnTo>
                  <a:lnTo>
                    <a:pt x="1864" y="0"/>
                  </a:lnTo>
                  <a:lnTo>
                    <a:pt x="2543" y="0"/>
                  </a:lnTo>
                  <a:lnTo>
                    <a:pt x="3221" y="0"/>
                  </a:lnTo>
                  <a:lnTo>
                    <a:pt x="3221" y="0"/>
                  </a:lnTo>
                  <a:lnTo>
                    <a:pt x="3241" y="0"/>
                  </a:lnTo>
                  <a:lnTo>
                    <a:pt x="3256" y="5"/>
                  </a:lnTo>
                  <a:lnTo>
                    <a:pt x="3286" y="20"/>
                  </a:lnTo>
                  <a:lnTo>
                    <a:pt x="3306" y="46"/>
                  </a:lnTo>
                  <a:lnTo>
                    <a:pt x="3316" y="60"/>
                  </a:lnTo>
                  <a:lnTo>
                    <a:pt x="3321" y="80"/>
                  </a:lnTo>
                  <a:lnTo>
                    <a:pt x="3321" y="80"/>
                  </a:lnTo>
                  <a:lnTo>
                    <a:pt x="3336" y="201"/>
                  </a:lnTo>
                  <a:lnTo>
                    <a:pt x="3351" y="327"/>
                  </a:lnTo>
                  <a:lnTo>
                    <a:pt x="3356" y="447"/>
                  </a:lnTo>
                  <a:lnTo>
                    <a:pt x="3356" y="568"/>
                  </a:lnTo>
                  <a:lnTo>
                    <a:pt x="3351" y="694"/>
                  </a:lnTo>
                  <a:lnTo>
                    <a:pt x="3341" y="814"/>
                  </a:lnTo>
                  <a:lnTo>
                    <a:pt x="3326" y="935"/>
                  </a:lnTo>
                  <a:lnTo>
                    <a:pt x="3306" y="1055"/>
                  </a:lnTo>
                  <a:lnTo>
                    <a:pt x="3306" y="1055"/>
                  </a:lnTo>
                  <a:lnTo>
                    <a:pt x="3346" y="1090"/>
                  </a:lnTo>
                  <a:lnTo>
                    <a:pt x="3387" y="1125"/>
                  </a:lnTo>
                  <a:lnTo>
                    <a:pt x="3421" y="1161"/>
                  </a:lnTo>
                  <a:lnTo>
                    <a:pt x="3452" y="1196"/>
                  </a:lnTo>
                  <a:lnTo>
                    <a:pt x="3477" y="1236"/>
                  </a:lnTo>
                  <a:lnTo>
                    <a:pt x="3497" y="1271"/>
                  </a:lnTo>
                  <a:lnTo>
                    <a:pt x="3507" y="1312"/>
                  </a:lnTo>
                  <a:lnTo>
                    <a:pt x="3517" y="1351"/>
                  </a:lnTo>
                  <a:lnTo>
                    <a:pt x="3517" y="1542"/>
                  </a:lnTo>
                  <a:lnTo>
                    <a:pt x="3517" y="1542"/>
                  </a:lnTo>
                  <a:lnTo>
                    <a:pt x="3522" y="1567"/>
                  </a:lnTo>
                  <a:lnTo>
                    <a:pt x="3532" y="1588"/>
                  </a:lnTo>
                  <a:lnTo>
                    <a:pt x="3552" y="1597"/>
                  </a:lnTo>
                  <a:lnTo>
                    <a:pt x="3577" y="1603"/>
                  </a:lnTo>
                  <a:lnTo>
                    <a:pt x="3843" y="1603"/>
                  </a:lnTo>
                  <a:lnTo>
                    <a:pt x="3843" y="1603"/>
                  </a:lnTo>
                  <a:lnTo>
                    <a:pt x="3869" y="1608"/>
                  </a:lnTo>
                  <a:lnTo>
                    <a:pt x="3889" y="1618"/>
                  </a:lnTo>
                  <a:lnTo>
                    <a:pt x="3904" y="1633"/>
                  </a:lnTo>
                  <a:lnTo>
                    <a:pt x="3919" y="1653"/>
                  </a:lnTo>
                  <a:lnTo>
                    <a:pt x="3919" y="1653"/>
                  </a:lnTo>
                  <a:lnTo>
                    <a:pt x="3939" y="1723"/>
                  </a:lnTo>
                  <a:lnTo>
                    <a:pt x="3959" y="1793"/>
                  </a:lnTo>
                  <a:lnTo>
                    <a:pt x="3979" y="1874"/>
                  </a:lnTo>
                  <a:lnTo>
                    <a:pt x="3989" y="1955"/>
                  </a:lnTo>
                  <a:lnTo>
                    <a:pt x="4004" y="2040"/>
                  </a:lnTo>
                  <a:lnTo>
                    <a:pt x="4010" y="2125"/>
                  </a:lnTo>
                  <a:lnTo>
                    <a:pt x="4019" y="2311"/>
                  </a:lnTo>
                  <a:lnTo>
                    <a:pt x="4019" y="2502"/>
                  </a:lnTo>
                  <a:lnTo>
                    <a:pt x="4014" y="2708"/>
                  </a:lnTo>
                  <a:lnTo>
                    <a:pt x="3999" y="2914"/>
                  </a:lnTo>
                  <a:lnTo>
                    <a:pt x="3979" y="3125"/>
                  </a:lnTo>
                  <a:lnTo>
                    <a:pt x="3979" y="3125"/>
                  </a:lnTo>
                  <a:lnTo>
                    <a:pt x="3944" y="3145"/>
                  </a:lnTo>
                  <a:lnTo>
                    <a:pt x="3909" y="3175"/>
                  </a:lnTo>
                  <a:lnTo>
                    <a:pt x="3884" y="3205"/>
                  </a:lnTo>
                  <a:lnTo>
                    <a:pt x="3859" y="3240"/>
                  </a:lnTo>
                  <a:lnTo>
                    <a:pt x="3839" y="3276"/>
                  </a:lnTo>
                  <a:lnTo>
                    <a:pt x="3823" y="3316"/>
                  </a:lnTo>
                  <a:lnTo>
                    <a:pt x="3814" y="3356"/>
                  </a:lnTo>
                  <a:lnTo>
                    <a:pt x="3814" y="3401"/>
                  </a:lnTo>
                  <a:lnTo>
                    <a:pt x="3814" y="3547"/>
                  </a:lnTo>
                  <a:lnTo>
                    <a:pt x="3814" y="3547"/>
                  </a:lnTo>
                  <a:lnTo>
                    <a:pt x="3909" y="3632"/>
                  </a:lnTo>
                  <a:lnTo>
                    <a:pt x="3999" y="3723"/>
                  </a:lnTo>
                  <a:lnTo>
                    <a:pt x="4090" y="3813"/>
                  </a:lnTo>
                  <a:lnTo>
                    <a:pt x="4175" y="3903"/>
                  </a:lnTo>
                  <a:lnTo>
                    <a:pt x="4256" y="3994"/>
                  </a:lnTo>
                  <a:lnTo>
                    <a:pt x="4336" y="4090"/>
                  </a:lnTo>
                  <a:lnTo>
                    <a:pt x="4411" y="4185"/>
                  </a:lnTo>
                  <a:lnTo>
                    <a:pt x="4482" y="4280"/>
                  </a:lnTo>
                  <a:lnTo>
                    <a:pt x="4547" y="4376"/>
                  </a:lnTo>
                  <a:lnTo>
                    <a:pt x="4612" y="4476"/>
                  </a:lnTo>
                  <a:lnTo>
                    <a:pt x="4673" y="4577"/>
                  </a:lnTo>
                  <a:lnTo>
                    <a:pt x="4728" y="4682"/>
                  </a:lnTo>
                  <a:lnTo>
                    <a:pt x="4778" y="4788"/>
                  </a:lnTo>
                  <a:lnTo>
                    <a:pt x="4828" y="4893"/>
                  </a:lnTo>
                  <a:lnTo>
                    <a:pt x="4874" y="5004"/>
                  </a:lnTo>
                  <a:lnTo>
                    <a:pt x="4909" y="5110"/>
                  </a:lnTo>
                  <a:lnTo>
                    <a:pt x="4909" y="5110"/>
                  </a:lnTo>
                  <a:lnTo>
                    <a:pt x="4954" y="5345"/>
                  </a:lnTo>
                  <a:lnTo>
                    <a:pt x="4994" y="5577"/>
                  </a:lnTo>
                  <a:lnTo>
                    <a:pt x="5024" y="5813"/>
                  </a:lnTo>
                  <a:lnTo>
                    <a:pt x="5050" y="6049"/>
                  </a:lnTo>
                  <a:lnTo>
                    <a:pt x="5069" y="6280"/>
                  </a:lnTo>
                  <a:lnTo>
                    <a:pt x="5084" y="6516"/>
                  </a:lnTo>
                  <a:lnTo>
                    <a:pt x="5089" y="6752"/>
                  </a:lnTo>
                  <a:lnTo>
                    <a:pt x="5089" y="6983"/>
                  </a:lnTo>
                  <a:lnTo>
                    <a:pt x="5084" y="7220"/>
                  </a:lnTo>
                  <a:lnTo>
                    <a:pt x="5075" y="7455"/>
                  </a:lnTo>
                  <a:lnTo>
                    <a:pt x="5054" y="7692"/>
                  </a:lnTo>
                  <a:lnTo>
                    <a:pt x="5029" y="7928"/>
                  </a:lnTo>
                  <a:lnTo>
                    <a:pt x="4999" y="8164"/>
                  </a:lnTo>
                  <a:lnTo>
                    <a:pt x="4959" y="8400"/>
                  </a:lnTo>
                  <a:lnTo>
                    <a:pt x="4919" y="8636"/>
                  </a:lnTo>
                  <a:lnTo>
                    <a:pt x="4868" y="8872"/>
                  </a:lnTo>
                  <a:lnTo>
                    <a:pt x="4868" y="8872"/>
                  </a:lnTo>
                  <a:lnTo>
                    <a:pt x="4813" y="9274"/>
                  </a:lnTo>
                  <a:lnTo>
                    <a:pt x="4763" y="9676"/>
                  </a:lnTo>
                  <a:lnTo>
                    <a:pt x="4718" y="10072"/>
                  </a:lnTo>
                  <a:lnTo>
                    <a:pt x="4683" y="10464"/>
                  </a:lnTo>
                  <a:lnTo>
                    <a:pt x="4658" y="10855"/>
                  </a:lnTo>
                  <a:lnTo>
                    <a:pt x="4637" y="11243"/>
                  </a:lnTo>
                  <a:lnTo>
                    <a:pt x="4632" y="11624"/>
                  </a:lnTo>
                  <a:lnTo>
                    <a:pt x="4632" y="12001"/>
                  </a:lnTo>
                  <a:lnTo>
                    <a:pt x="4642" y="12378"/>
                  </a:lnTo>
                  <a:lnTo>
                    <a:pt x="4662" y="12745"/>
                  </a:lnTo>
                  <a:lnTo>
                    <a:pt x="4687" y="13111"/>
                  </a:lnTo>
                  <a:lnTo>
                    <a:pt x="4728" y="13474"/>
                  </a:lnTo>
                  <a:lnTo>
                    <a:pt x="4778" y="13830"/>
                  </a:lnTo>
                  <a:lnTo>
                    <a:pt x="4838" y="14181"/>
                  </a:lnTo>
                  <a:lnTo>
                    <a:pt x="4913" y="14533"/>
                  </a:lnTo>
                  <a:lnTo>
                    <a:pt x="4954" y="14704"/>
                  </a:lnTo>
                  <a:lnTo>
                    <a:pt x="4994" y="14875"/>
                  </a:lnTo>
                  <a:lnTo>
                    <a:pt x="5069" y="15508"/>
                  </a:lnTo>
                  <a:lnTo>
                    <a:pt x="5069" y="16397"/>
                  </a:lnTo>
                  <a:lnTo>
                    <a:pt x="5064" y="16397"/>
                  </a:lnTo>
                  <a:lnTo>
                    <a:pt x="5064" y="16397"/>
                  </a:lnTo>
                  <a:lnTo>
                    <a:pt x="5044" y="16437"/>
                  </a:lnTo>
                  <a:lnTo>
                    <a:pt x="5029" y="16478"/>
                  </a:lnTo>
                  <a:lnTo>
                    <a:pt x="5019" y="16523"/>
                  </a:lnTo>
                  <a:lnTo>
                    <a:pt x="5014" y="16563"/>
                  </a:lnTo>
                  <a:lnTo>
                    <a:pt x="5019" y="16608"/>
                  </a:lnTo>
                  <a:lnTo>
                    <a:pt x="5029" y="16649"/>
                  </a:lnTo>
                  <a:lnTo>
                    <a:pt x="5044" y="16688"/>
                  </a:lnTo>
                  <a:lnTo>
                    <a:pt x="5064" y="16729"/>
                  </a:lnTo>
                  <a:lnTo>
                    <a:pt x="5069" y="16734"/>
                  </a:lnTo>
                  <a:lnTo>
                    <a:pt x="5069" y="17452"/>
                  </a:lnTo>
                  <a:lnTo>
                    <a:pt x="5069" y="17452"/>
                  </a:lnTo>
                  <a:lnTo>
                    <a:pt x="5054" y="17532"/>
                  </a:lnTo>
                  <a:lnTo>
                    <a:pt x="5029" y="17608"/>
                  </a:lnTo>
                  <a:lnTo>
                    <a:pt x="5004" y="17673"/>
                  </a:lnTo>
                  <a:lnTo>
                    <a:pt x="4969" y="17739"/>
                  </a:lnTo>
                  <a:lnTo>
                    <a:pt x="4934" y="17794"/>
                  </a:lnTo>
                  <a:lnTo>
                    <a:pt x="4888" y="17844"/>
                  </a:lnTo>
                  <a:lnTo>
                    <a:pt x="4843" y="17889"/>
                  </a:lnTo>
                  <a:lnTo>
                    <a:pt x="4788" y="17929"/>
                  </a:lnTo>
                  <a:lnTo>
                    <a:pt x="4733" y="17965"/>
                  </a:lnTo>
                  <a:lnTo>
                    <a:pt x="4673" y="18000"/>
                  </a:lnTo>
                  <a:lnTo>
                    <a:pt x="4607" y="18025"/>
                  </a:lnTo>
                  <a:lnTo>
                    <a:pt x="4537" y="18050"/>
                  </a:lnTo>
                  <a:lnTo>
                    <a:pt x="4466" y="18070"/>
                  </a:lnTo>
                  <a:lnTo>
                    <a:pt x="4391" y="18085"/>
                  </a:lnTo>
                  <a:lnTo>
                    <a:pt x="4316" y="18095"/>
                  </a:lnTo>
                  <a:lnTo>
                    <a:pt x="4236" y="18105"/>
                  </a:lnTo>
                  <a:lnTo>
                    <a:pt x="2543" y="18105"/>
                  </a:lnTo>
                </a:path>
              </a:pathLst>
            </a:custGeom>
            <a:noFill/>
            <a:ln w="12700">
              <a:solidFill>
                <a:schemeClr val="bg1">
                  <a:alpha val="30000"/>
                </a:schemeClr>
              </a:solidFill>
            </a:ln>
            <a:effectLst/>
          </p:spPr>
          <p:txBody>
            <a:bodyPr wrap="none" anchor="ctr"/>
            <a:lstStyle/>
            <a:p>
              <a:endParaRPr lang="en-US" sz="1709"/>
            </a:p>
          </p:txBody>
        </p:sp>
        <p:sp>
          <p:nvSpPr>
            <p:cNvPr id="13" name="Freeform 12">
              <a:extLst>
                <a:ext uri="{FF2B5EF4-FFF2-40B4-BE49-F238E27FC236}">
                  <a16:creationId xmlns:a16="http://schemas.microsoft.com/office/drawing/2014/main" id="{2FA31B68-7DCE-0C4E-8B34-96D1EADE7536}"/>
                </a:ext>
              </a:extLst>
            </p:cNvPr>
            <p:cNvSpPr>
              <a:spLocks noChangeArrowheads="1"/>
            </p:cNvSpPr>
            <p:nvPr/>
          </p:nvSpPr>
          <p:spPr bwMode="auto">
            <a:xfrm>
              <a:off x="6505857" y="1249543"/>
              <a:ext cx="1285437" cy="4573662"/>
            </a:xfrm>
            <a:custGeom>
              <a:avLst/>
              <a:gdLst>
                <a:gd name="T0" fmla="*/ 698 w 5090"/>
                <a:gd name="T1" fmla="*/ 18085 h 18106"/>
                <a:gd name="T2" fmla="*/ 357 w 5090"/>
                <a:gd name="T3" fmla="*/ 17965 h 18106"/>
                <a:gd name="T4" fmla="*/ 120 w 5090"/>
                <a:gd name="T5" fmla="*/ 17739 h 18106"/>
                <a:gd name="T6" fmla="*/ 20 w 5090"/>
                <a:gd name="T7" fmla="*/ 16734 h 18106"/>
                <a:gd name="T8" fmla="*/ 70 w 5090"/>
                <a:gd name="T9" fmla="*/ 16608 h 18106"/>
                <a:gd name="T10" fmla="*/ 20 w 5090"/>
                <a:gd name="T11" fmla="*/ 16397 h 18106"/>
                <a:gd name="T12" fmla="*/ 136 w 5090"/>
                <a:gd name="T13" fmla="*/ 14704 h 18106"/>
                <a:gd name="T14" fmla="*/ 396 w 5090"/>
                <a:gd name="T15" fmla="*/ 13111 h 18106"/>
                <a:gd name="T16" fmla="*/ 447 w 5090"/>
                <a:gd name="T17" fmla="*/ 11243 h 18106"/>
                <a:gd name="T18" fmla="*/ 276 w 5090"/>
                <a:gd name="T19" fmla="*/ 9274 h 18106"/>
                <a:gd name="T20" fmla="*/ 90 w 5090"/>
                <a:gd name="T21" fmla="*/ 8164 h 18106"/>
                <a:gd name="T22" fmla="*/ 0 w 5090"/>
                <a:gd name="T23" fmla="*/ 6983 h 18106"/>
                <a:gd name="T24" fmla="*/ 60 w 5090"/>
                <a:gd name="T25" fmla="*/ 5813 h 18106"/>
                <a:gd name="T26" fmla="*/ 216 w 5090"/>
                <a:gd name="T27" fmla="*/ 5004 h 18106"/>
                <a:gd name="T28" fmla="*/ 477 w 5090"/>
                <a:gd name="T29" fmla="*/ 4476 h 18106"/>
                <a:gd name="T30" fmla="*/ 834 w 5090"/>
                <a:gd name="T31" fmla="*/ 3994 h 18106"/>
                <a:gd name="T32" fmla="*/ 1276 w 5090"/>
                <a:gd name="T33" fmla="*/ 3547 h 18106"/>
                <a:gd name="T34" fmla="*/ 1251 w 5090"/>
                <a:gd name="T35" fmla="*/ 3276 h 18106"/>
                <a:gd name="T36" fmla="*/ 1105 w 5090"/>
                <a:gd name="T37" fmla="*/ 3125 h 18106"/>
                <a:gd name="T38" fmla="*/ 1070 w 5090"/>
                <a:gd name="T39" fmla="*/ 2311 h 18106"/>
                <a:gd name="T40" fmla="*/ 1130 w 5090"/>
                <a:gd name="T41" fmla="*/ 1793 h 18106"/>
                <a:gd name="T42" fmla="*/ 1201 w 5090"/>
                <a:gd name="T43" fmla="*/ 1618 h 18106"/>
                <a:gd name="T44" fmla="*/ 1537 w 5090"/>
                <a:gd name="T45" fmla="*/ 1597 h 18106"/>
                <a:gd name="T46" fmla="*/ 1572 w 5090"/>
                <a:gd name="T47" fmla="*/ 1351 h 18106"/>
                <a:gd name="T48" fmla="*/ 1668 w 5090"/>
                <a:gd name="T49" fmla="*/ 1161 h 18106"/>
                <a:gd name="T50" fmla="*/ 1763 w 5090"/>
                <a:gd name="T51" fmla="*/ 935 h 18106"/>
                <a:gd name="T52" fmla="*/ 1738 w 5090"/>
                <a:gd name="T53" fmla="*/ 327 h 18106"/>
                <a:gd name="T54" fmla="*/ 1778 w 5090"/>
                <a:gd name="T55" fmla="*/ 46 h 18106"/>
                <a:gd name="T56" fmla="*/ 2542 w 5090"/>
                <a:gd name="T57" fmla="*/ 0 h 18106"/>
                <a:gd name="T58" fmla="*/ 3286 w 5090"/>
                <a:gd name="T59" fmla="*/ 20 h 18106"/>
                <a:gd name="T60" fmla="*/ 3336 w 5090"/>
                <a:gd name="T61" fmla="*/ 201 h 18106"/>
                <a:gd name="T62" fmla="*/ 3341 w 5090"/>
                <a:gd name="T63" fmla="*/ 814 h 18106"/>
                <a:gd name="T64" fmla="*/ 3386 w 5090"/>
                <a:gd name="T65" fmla="*/ 1125 h 18106"/>
                <a:gd name="T66" fmla="*/ 3512 w 5090"/>
                <a:gd name="T67" fmla="*/ 1312 h 18106"/>
                <a:gd name="T68" fmla="*/ 3532 w 5090"/>
                <a:gd name="T69" fmla="*/ 1588 h 18106"/>
                <a:gd name="T70" fmla="*/ 3868 w 5090"/>
                <a:gd name="T71" fmla="*/ 1608 h 18106"/>
                <a:gd name="T72" fmla="*/ 3938 w 5090"/>
                <a:gd name="T73" fmla="*/ 1723 h 18106"/>
                <a:gd name="T74" fmla="*/ 4009 w 5090"/>
                <a:gd name="T75" fmla="*/ 2125 h 18106"/>
                <a:gd name="T76" fmla="*/ 3979 w 5090"/>
                <a:gd name="T77" fmla="*/ 3125 h 18106"/>
                <a:gd name="T78" fmla="*/ 3858 w 5090"/>
                <a:gd name="T79" fmla="*/ 3240 h 18106"/>
                <a:gd name="T80" fmla="*/ 3813 w 5090"/>
                <a:gd name="T81" fmla="*/ 3547 h 18106"/>
                <a:gd name="T82" fmla="*/ 4175 w 5090"/>
                <a:gd name="T83" fmla="*/ 3903 h 18106"/>
                <a:gd name="T84" fmla="*/ 4552 w 5090"/>
                <a:gd name="T85" fmla="*/ 4376 h 18106"/>
                <a:gd name="T86" fmla="*/ 4828 w 5090"/>
                <a:gd name="T87" fmla="*/ 4893 h 18106"/>
                <a:gd name="T88" fmla="*/ 4993 w 5090"/>
                <a:gd name="T89" fmla="*/ 5577 h 18106"/>
                <a:gd name="T90" fmla="*/ 5089 w 5090"/>
                <a:gd name="T91" fmla="*/ 6752 h 18106"/>
                <a:gd name="T92" fmla="*/ 5029 w 5090"/>
                <a:gd name="T93" fmla="*/ 7928 h 18106"/>
                <a:gd name="T94" fmla="*/ 4868 w 5090"/>
                <a:gd name="T95" fmla="*/ 8872 h 18106"/>
                <a:gd name="T96" fmla="*/ 4657 w 5090"/>
                <a:gd name="T97" fmla="*/ 10855 h 18106"/>
                <a:gd name="T98" fmla="*/ 4662 w 5090"/>
                <a:gd name="T99" fmla="*/ 12745 h 18106"/>
                <a:gd name="T100" fmla="*/ 4913 w 5090"/>
                <a:gd name="T101" fmla="*/ 14533 h 18106"/>
                <a:gd name="T102" fmla="*/ 5069 w 5090"/>
                <a:gd name="T103" fmla="*/ 16397 h 18106"/>
                <a:gd name="T104" fmla="*/ 5013 w 5090"/>
                <a:gd name="T105" fmla="*/ 16563 h 18106"/>
                <a:gd name="T106" fmla="*/ 5069 w 5090"/>
                <a:gd name="T107" fmla="*/ 16734 h 18106"/>
                <a:gd name="T108" fmla="*/ 5004 w 5090"/>
                <a:gd name="T109" fmla="*/ 17673 h 18106"/>
                <a:gd name="T110" fmla="*/ 4787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2" y="18105"/>
                  </a:moveTo>
                  <a:lnTo>
                    <a:pt x="854" y="18105"/>
                  </a:lnTo>
                  <a:lnTo>
                    <a:pt x="854" y="18105"/>
                  </a:lnTo>
                  <a:lnTo>
                    <a:pt x="773" y="18095"/>
                  </a:lnTo>
                  <a:lnTo>
                    <a:pt x="698" y="18085"/>
                  </a:lnTo>
                  <a:lnTo>
                    <a:pt x="623" y="18070"/>
                  </a:lnTo>
                  <a:lnTo>
                    <a:pt x="547" y="18050"/>
                  </a:lnTo>
                  <a:lnTo>
                    <a:pt x="482" y="18025"/>
                  </a:lnTo>
                  <a:lnTo>
                    <a:pt x="417" y="18000"/>
                  </a:lnTo>
                  <a:lnTo>
                    <a:pt x="357" y="17965"/>
                  </a:lnTo>
                  <a:lnTo>
                    <a:pt x="301" y="17929"/>
                  </a:lnTo>
                  <a:lnTo>
                    <a:pt x="246" y="17889"/>
                  </a:lnTo>
                  <a:lnTo>
                    <a:pt x="201" y="17844"/>
                  </a:lnTo>
                  <a:lnTo>
                    <a:pt x="156" y="17794"/>
                  </a:lnTo>
                  <a:lnTo>
                    <a:pt x="120" y="17739"/>
                  </a:lnTo>
                  <a:lnTo>
                    <a:pt x="85" y="17673"/>
                  </a:lnTo>
                  <a:lnTo>
                    <a:pt x="55" y="17608"/>
                  </a:lnTo>
                  <a:lnTo>
                    <a:pt x="35" y="17532"/>
                  </a:lnTo>
                  <a:lnTo>
                    <a:pt x="20" y="17452"/>
                  </a:lnTo>
                  <a:lnTo>
                    <a:pt x="20" y="16734"/>
                  </a:lnTo>
                  <a:lnTo>
                    <a:pt x="20" y="16729"/>
                  </a:lnTo>
                  <a:lnTo>
                    <a:pt x="20" y="16729"/>
                  </a:lnTo>
                  <a:lnTo>
                    <a:pt x="45" y="16688"/>
                  </a:lnTo>
                  <a:lnTo>
                    <a:pt x="60" y="16649"/>
                  </a:lnTo>
                  <a:lnTo>
                    <a:pt x="70" y="16608"/>
                  </a:lnTo>
                  <a:lnTo>
                    <a:pt x="75" y="16563"/>
                  </a:lnTo>
                  <a:lnTo>
                    <a:pt x="70" y="16523"/>
                  </a:lnTo>
                  <a:lnTo>
                    <a:pt x="60" y="16478"/>
                  </a:lnTo>
                  <a:lnTo>
                    <a:pt x="45" y="16437"/>
                  </a:lnTo>
                  <a:lnTo>
                    <a:pt x="20" y="16397"/>
                  </a:lnTo>
                  <a:lnTo>
                    <a:pt x="20" y="16397"/>
                  </a:lnTo>
                  <a:lnTo>
                    <a:pt x="20" y="15508"/>
                  </a:lnTo>
                  <a:lnTo>
                    <a:pt x="95" y="14875"/>
                  </a:lnTo>
                  <a:lnTo>
                    <a:pt x="95" y="14875"/>
                  </a:lnTo>
                  <a:lnTo>
                    <a:pt x="136" y="14704"/>
                  </a:lnTo>
                  <a:lnTo>
                    <a:pt x="176" y="14533"/>
                  </a:lnTo>
                  <a:lnTo>
                    <a:pt x="246" y="14181"/>
                  </a:lnTo>
                  <a:lnTo>
                    <a:pt x="311" y="13830"/>
                  </a:lnTo>
                  <a:lnTo>
                    <a:pt x="362" y="13474"/>
                  </a:lnTo>
                  <a:lnTo>
                    <a:pt x="396" y="13111"/>
                  </a:lnTo>
                  <a:lnTo>
                    <a:pt x="427" y="12745"/>
                  </a:lnTo>
                  <a:lnTo>
                    <a:pt x="447" y="12378"/>
                  </a:lnTo>
                  <a:lnTo>
                    <a:pt x="457" y="12001"/>
                  </a:lnTo>
                  <a:lnTo>
                    <a:pt x="457" y="11624"/>
                  </a:lnTo>
                  <a:lnTo>
                    <a:pt x="447" y="11243"/>
                  </a:lnTo>
                  <a:lnTo>
                    <a:pt x="432" y="10855"/>
                  </a:lnTo>
                  <a:lnTo>
                    <a:pt x="407" y="10464"/>
                  </a:lnTo>
                  <a:lnTo>
                    <a:pt x="371" y="10072"/>
                  </a:lnTo>
                  <a:lnTo>
                    <a:pt x="326" y="9676"/>
                  </a:lnTo>
                  <a:lnTo>
                    <a:pt x="276" y="9274"/>
                  </a:lnTo>
                  <a:lnTo>
                    <a:pt x="221" y="8872"/>
                  </a:lnTo>
                  <a:lnTo>
                    <a:pt x="221" y="8872"/>
                  </a:lnTo>
                  <a:lnTo>
                    <a:pt x="170" y="8636"/>
                  </a:lnTo>
                  <a:lnTo>
                    <a:pt x="125" y="8400"/>
                  </a:lnTo>
                  <a:lnTo>
                    <a:pt x="90" y="8164"/>
                  </a:lnTo>
                  <a:lnTo>
                    <a:pt x="60" y="7928"/>
                  </a:lnTo>
                  <a:lnTo>
                    <a:pt x="35" y="7692"/>
                  </a:lnTo>
                  <a:lnTo>
                    <a:pt x="15" y="7455"/>
                  </a:lnTo>
                  <a:lnTo>
                    <a:pt x="5" y="7220"/>
                  </a:lnTo>
                  <a:lnTo>
                    <a:pt x="0" y="6983"/>
                  </a:lnTo>
                  <a:lnTo>
                    <a:pt x="0" y="6752"/>
                  </a:lnTo>
                  <a:lnTo>
                    <a:pt x="5" y="6516"/>
                  </a:lnTo>
                  <a:lnTo>
                    <a:pt x="20" y="6280"/>
                  </a:lnTo>
                  <a:lnTo>
                    <a:pt x="35" y="6049"/>
                  </a:lnTo>
                  <a:lnTo>
                    <a:pt x="60" y="5813"/>
                  </a:lnTo>
                  <a:lnTo>
                    <a:pt x="95" y="5577"/>
                  </a:lnTo>
                  <a:lnTo>
                    <a:pt x="131" y="5345"/>
                  </a:lnTo>
                  <a:lnTo>
                    <a:pt x="176" y="5110"/>
                  </a:lnTo>
                  <a:lnTo>
                    <a:pt x="176" y="5110"/>
                  </a:lnTo>
                  <a:lnTo>
                    <a:pt x="216" y="5004"/>
                  </a:lnTo>
                  <a:lnTo>
                    <a:pt x="261" y="4893"/>
                  </a:lnTo>
                  <a:lnTo>
                    <a:pt x="307" y="4788"/>
                  </a:lnTo>
                  <a:lnTo>
                    <a:pt x="362" y="4682"/>
                  </a:lnTo>
                  <a:lnTo>
                    <a:pt x="417" y="4577"/>
                  </a:lnTo>
                  <a:lnTo>
                    <a:pt x="477" y="4476"/>
                  </a:lnTo>
                  <a:lnTo>
                    <a:pt x="537" y="4376"/>
                  </a:lnTo>
                  <a:lnTo>
                    <a:pt x="608" y="4280"/>
                  </a:lnTo>
                  <a:lnTo>
                    <a:pt x="678" y="4185"/>
                  </a:lnTo>
                  <a:lnTo>
                    <a:pt x="754" y="4090"/>
                  </a:lnTo>
                  <a:lnTo>
                    <a:pt x="834" y="3994"/>
                  </a:lnTo>
                  <a:lnTo>
                    <a:pt x="914" y="3903"/>
                  </a:lnTo>
                  <a:lnTo>
                    <a:pt x="1000" y="3813"/>
                  </a:lnTo>
                  <a:lnTo>
                    <a:pt x="1090" y="3723"/>
                  </a:lnTo>
                  <a:lnTo>
                    <a:pt x="1181" y="3632"/>
                  </a:lnTo>
                  <a:lnTo>
                    <a:pt x="1276" y="3547"/>
                  </a:lnTo>
                  <a:lnTo>
                    <a:pt x="1276" y="3401"/>
                  </a:lnTo>
                  <a:lnTo>
                    <a:pt x="1276" y="3401"/>
                  </a:lnTo>
                  <a:lnTo>
                    <a:pt x="1271" y="3356"/>
                  </a:lnTo>
                  <a:lnTo>
                    <a:pt x="1266" y="3316"/>
                  </a:lnTo>
                  <a:lnTo>
                    <a:pt x="1251" y="3276"/>
                  </a:lnTo>
                  <a:lnTo>
                    <a:pt x="1231" y="3240"/>
                  </a:lnTo>
                  <a:lnTo>
                    <a:pt x="1206" y="3205"/>
                  </a:lnTo>
                  <a:lnTo>
                    <a:pt x="1176" y="3175"/>
                  </a:lnTo>
                  <a:lnTo>
                    <a:pt x="1145" y="3145"/>
                  </a:lnTo>
                  <a:lnTo>
                    <a:pt x="1105" y="3125"/>
                  </a:lnTo>
                  <a:lnTo>
                    <a:pt x="1105" y="3125"/>
                  </a:lnTo>
                  <a:lnTo>
                    <a:pt x="1090" y="2914"/>
                  </a:lnTo>
                  <a:lnTo>
                    <a:pt x="1075" y="2708"/>
                  </a:lnTo>
                  <a:lnTo>
                    <a:pt x="1065" y="2502"/>
                  </a:lnTo>
                  <a:lnTo>
                    <a:pt x="1070" y="2311"/>
                  </a:lnTo>
                  <a:lnTo>
                    <a:pt x="1075" y="2125"/>
                  </a:lnTo>
                  <a:lnTo>
                    <a:pt x="1085" y="2040"/>
                  </a:lnTo>
                  <a:lnTo>
                    <a:pt x="1095" y="1955"/>
                  </a:lnTo>
                  <a:lnTo>
                    <a:pt x="1110" y="1874"/>
                  </a:lnTo>
                  <a:lnTo>
                    <a:pt x="1130" y="1793"/>
                  </a:lnTo>
                  <a:lnTo>
                    <a:pt x="1150" y="1723"/>
                  </a:lnTo>
                  <a:lnTo>
                    <a:pt x="1170" y="1653"/>
                  </a:lnTo>
                  <a:lnTo>
                    <a:pt x="1170" y="1653"/>
                  </a:lnTo>
                  <a:lnTo>
                    <a:pt x="1181" y="1633"/>
                  </a:lnTo>
                  <a:lnTo>
                    <a:pt x="1201" y="1618"/>
                  </a:lnTo>
                  <a:lnTo>
                    <a:pt x="1221" y="1608"/>
                  </a:lnTo>
                  <a:lnTo>
                    <a:pt x="1240" y="1603"/>
                  </a:lnTo>
                  <a:lnTo>
                    <a:pt x="1512" y="1603"/>
                  </a:lnTo>
                  <a:lnTo>
                    <a:pt x="1512" y="1603"/>
                  </a:lnTo>
                  <a:lnTo>
                    <a:pt x="1537" y="1597"/>
                  </a:lnTo>
                  <a:lnTo>
                    <a:pt x="1552" y="1588"/>
                  </a:lnTo>
                  <a:lnTo>
                    <a:pt x="1567" y="1567"/>
                  </a:lnTo>
                  <a:lnTo>
                    <a:pt x="1572" y="1542"/>
                  </a:lnTo>
                  <a:lnTo>
                    <a:pt x="1572" y="1351"/>
                  </a:lnTo>
                  <a:lnTo>
                    <a:pt x="1572" y="1351"/>
                  </a:lnTo>
                  <a:lnTo>
                    <a:pt x="1577" y="1312"/>
                  </a:lnTo>
                  <a:lnTo>
                    <a:pt x="1592" y="1271"/>
                  </a:lnTo>
                  <a:lnTo>
                    <a:pt x="1612" y="1236"/>
                  </a:lnTo>
                  <a:lnTo>
                    <a:pt x="1637" y="1196"/>
                  </a:lnTo>
                  <a:lnTo>
                    <a:pt x="1668" y="1161"/>
                  </a:lnTo>
                  <a:lnTo>
                    <a:pt x="1703" y="1125"/>
                  </a:lnTo>
                  <a:lnTo>
                    <a:pt x="1738" y="1090"/>
                  </a:lnTo>
                  <a:lnTo>
                    <a:pt x="1783" y="1055"/>
                  </a:lnTo>
                  <a:lnTo>
                    <a:pt x="1783" y="1055"/>
                  </a:lnTo>
                  <a:lnTo>
                    <a:pt x="1763" y="935"/>
                  </a:lnTo>
                  <a:lnTo>
                    <a:pt x="1743" y="814"/>
                  </a:lnTo>
                  <a:lnTo>
                    <a:pt x="1733" y="694"/>
                  </a:lnTo>
                  <a:lnTo>
                    <a:pt x="1733" y="568"/>
                  </a:lnTo>
                  <a:lnTo>
                    <a:pt x="1733" y="447"/>
                  </a:lnTo>
                  <a:lnTo>
                    <a:pt x="1738" y="327"/>
                  </a:lnTo>
                  <a:lnTo>
                    <a:pt x="1753" y="201"/>
                  </a:lnTo>
                  <a:lnTo>
                    <a:pt x="1768" y="80"/>
                  </a:lnTo>
                  <a:lnTo>
                    <a:pt x="1768" y="80"/>
                  </a:lnTo>
                  <a:lnTo>
                    <a:pt x="1773" y="60"/>
                  </a:lnTo>
                  <a:lnTo>
                    <a:pt x="1778" y="46"/>
                  </a:lnTo>
                  <a:lnTo>
                    <a:pt x="1803" y="20"/>
                  </a:lnTo>
                  <a:lnTo>
                    <a:pt x="1833" y="5"/>
                  </a:lnTo>
                  <a:lnTo>
                    <a:pt x="1849" y="0"/>
                  </a:lnTo>
                  <a:lnTo>
                    <a:pt x="1864" y="0"/>
                  </a:lnTo>
                  <a:lnTo>
                    <a:pt x="2542" y="0"/>
                  </a:lnTo>
                  <a:lnTo>
                    <a:pt x="3220" y="0"/>
                  </a:lnTo>
                  <a:lnTo>
                    <a:pt x="3220" y="0"/>
                  </a:lnTo>
                  <a:lnTo>
                    <a:pt x="3240" y="0"/>
                  </a:lnTo>
                  <a:lnTo>
                    <a:pt x="3255" y="5"/>
                  </a:lnTo>
                  <a:lnTo>
                    <a:pt x="3286" y="20"/>
                  </a:lnTo>
                  <a:lnTo>
                    <a:pt x="3305" y="46"/>
                  </a:lnTo>
                  <a:lnTo>
                    <a:pt x="3316" y="60"/>
                  </a:lnTo>
                  <a:lnTo>
                    <a:pt x="3320" y="80"/>
                  </a:lnTo>
                  <a:lnTo>
                    <a:pt x="3320" y="80"/>
                  </a:lnTo>
                  <a:lnTo>
                    <a:pt x="3336" y="201"/>
                  </a:lnTo>
                  <a:lnTo>
                    <a:pt x="3350" y="327"/>
                  </a:lnTo>
                  <a:lnTo>
                    <a:pt x="3356" y="447"/>
                  </a:lnTo>
                  <a:lnTo>
                    <a:pt x="3356" y="568"/>
                  </a:lnTo>
                  <a:lnTo>
                    <a:pt x="3350" y="694"/>
                  </a:lnTo>
                  <a:lnTo>
                    <a:pt x="3341" y="814"/>
                  </a:lnTo>
                  <a:lnTo>
                    <a:pt x="3325" y="935"/>
                  </a:lnTo>
                  <a:lnTo>
                    <a:pt x="3305" y="1055"/>
                  </a:lnTo>
                  <a:lnTo>
                    <a:pt x="3305" y="1055"/>
                  </a:lnTo>
                  <a:lnTo>
                    <a:pt x="3346" y="1090"/>
                  </a:lnTo>
                  <a:lnTo>
                    <a:pt x="3386" y="1125"/>
                  </a:lnTo>
                  <a:lnTo>
                    <a:pt x="3421" y="1161"/>
                  </a:lnTo>
                  <a:lnTo>
                    <a:pt x="3451" y="1196"/>
                  </a:lnTo>
                  <a:lnTo>
                    <a:pt x="3476" y="1236"/>
                  </a:lnTo>
                  <a:lnTo>
                    <a:pt x="3496" y="1271"/>
                  </a:lnTo>
                  <a:lnTo>
                    <a:pt x="3512" y="1312"/>
                  </a:lnTo>
                  <a:lnTo>
                    <a:pt x="3516" y="1351"/>
                  </a:lnTo>
                  <a:lnTo>
                    <a:pt x="3516" y="1542"/>
                  </a:lnTo>
                  <a:lnTo>
                    <a:pt x="3516" y="1542"/>
                  </a:lnTo>
                  <a:lnTo>
                    <a:pt x="3521" y="1567"/>
                  </a:lnTo>
                  <a:lnTo>
                    <a:pt x="3532" y="1588"/>
                  </a:lnTo>
                  <a:lnTo>
                    <a:pt x="3551" y="1597"/>
                  </a:lnTo>
                  <a:lnTo>
                    <a:pt x="3577" y="1603"/>
                  </a:lnTo>
                  <a:lnTo>
                    <a:pt x="3843" y="1603"/>
                  </a:lnTo>
                  <a:lnTo>
                    <a:pt x="3843" y="1603"/>
                  </a:lnTo>
                  <a:lnTo>
                    <a:pt x="3868" y="1608"/>
                  </a:lnTo>
                  <a:lnTo>
                    <a:pt x="3888" y="1618"/>
                  </a:lnTo>
                  <a:lnTo>
                    <a:pt x="3903" y="1633"/>
                  </a:lnTo>
                  <a:lnTo>
                    <a:pt x="3918" y="1653"/>
                  </a:lnTo>
                  <a:lnTo>
                    <a:pt x="3918" y="1653"/>
                  </a:lnTo>
                  <a:lnTo>
                    <a:pt x="3938" y="1723"/>
                  </a:lnTo>
                  <a:lnTo>
                    <a:pt x="3959" y="1793"/>
                  </a:lnTo>
                  <a:lnTo>
                    <a:pt x="3979" y="1874"/>
                  </a:lnTo>
                  <a:lnTo>
                    <a:pt x="3989" y="1955"/>
                  </a:lnTo>
                  <a:lnTo>
                    <a:pt x="4004" y="2040"/>
                  </a:lnTo>
                  <a:lnTo>
                    <a:pt x="4009" y="2125"/>
                  </a:lnTo>
                  <a:lnTo>
                    <a:pt x="4019" y="2311"/>
                  </a:lnTo>
                  <a:lnTo>
                    <a:pt x="4024" y="2502"/>
                  </a:lnTo>
                  <a:lnTo>
                    <a:pt x="4014" y="2708"/>
                  </a:lnTo>
                  <a:lnTo>
                    <a:pt x="3999" y="2914"/>
                  </a:lnTo>
                  <a:lnTo>
                    <a:pt x="3979" y="3125"/>
                  </a:lnTo>
                  <a:lnTo>
                    <a:pt x="3979" y="3125"/>
                  </a:lnTo>
                  <a:lnTo>
                    <a:pt x="3943" y="3145"/>
                  </a:lnTo>
                  <a:lnTo>
                    <a:pt x="3913" y="3175"/>
                  </a:lnTo>
                  <a:lnTo>
                    <a:pt x="3883" y="3205"/>
                  </a:lnTo>
                  <a:lnTo>
                    <a:pt x="3858" y="3240"/>
                  </a:lnTo>
                  <a:lnTo>
                    <a:pt x="3838" y="3276"/>
                  </a:lnTo>
                  <a:lnTo>
                    <a:pt x="3823" y="3316"/>
                  </a:lnTo>
                  <a:lnTo>
                    <a:pt x="3813" y="3356"/>
                  </a:lnTo>
                  <a:lnTo>
                    <a:pt x="3813" y="3401"/>
                  </a:lnTo>
                  <a:lnTo>
                    <a:pt x="3813" y="3547"/>
                  </a:lnTo>
                  <a:lnTo>
                    <a:pt x="3813" y="3547"/>
                  </a:lnTo>
                  <a:lnTo>
                    <a:pt x="3909" y="3632"/>
                  </a:lnTo>
                  <a:lnTo>
                    <a:pt x="3999" y="3723"/>
                  </a:lnTo>
                  <a:lnTo>
                    <a:pt x="4089" y="3813"/>
                  </a:lnTo>
                  <a:lnTo>
                    <a:pt x="4175" y="3903"/>
                  </a:lnTo>
                  <a:lnTo>
                    <a:pt x="4255" y="3994"/>
                  </a:lnTo>
                  <a:lnTo>
                    <a:pt x="4335" y="4090"/>
                  </a:lnTo>
                  <a:lnTo>
                    <a:pt x="4411" y="4185"/>
                  </a:lnTo>
                  <a:lnTo>
                    <a:pt x="4481" y="4280"/>
                  </a:lnTo>
                  <a:lnTo>
                    <a:pt x="4552" y="4376"/>
                  </a:lnTo>
                  <a:lnTo>
                    <a:pt x="4612" y="4476"/>
                  </a:lnTo>
                  <a:lnTo>
                    <a:pt x="4672" y="4577"/>
                  </a:lnTo>
                  <a:lnTo>
                    <a:pt x="4727" y="4682"/>
                  </a:lnTo>
                  <a:lnTo>
                    <a:pt x="4782" y="4788"/>
                  </a:lnTo>
                  <a:lnTo>
                    <a:pt x="4828" y="4893"/>
                  </a:lnTo>
                  <a:lnTo>
                    <a:pt x="4873" y="5004"/>
                  </a:lnTo>
                  <a:lnTo>
                    <a:pt x="4913" y="5110"/>
                  </a:lnTo>
                  <a:lnTo>
                    <a:pt x="4913" y="5110"/>
                  </a:lnTo>
                  <a:lnTo>
                    <a:pt x="4953" y="5345"/>
                  </a:lnTo>
                  <a:lnTo>
                    <a:pt x="4993" y="5577"/>
                  </a:lnTo>
                  <a:lnTo>
                    <a:pt x="5024" y="5813"/>
                  </a:lnTo>
                  <a:lnTo>
                    <a:pt x="5049" y="6049"/>
                  </a:lnTo>
                  <a:lnTo>
                    <a:pt x="5069" y="6280"/>
                  </a:lnTo>
                  <a:lnTo>
                    <a:pt x="5084" y="6516"/>
                  </a:lnTo>
                  <a:lnTo>
                    <a:pt x="5089" y="6752"/>
                  </a:lnTo>
                  <a:lnTo>
                    <a:pt x="5089" y="6983"/>
                  </a:lnTo>
                  <a:lnTo>
                    <a:pt x="5084" y="7220"/>
                  </a:lnTo>
                  <a:lnTo>
                    <a:pt x="5074" y="7455"/>
                  </a:lnTo>
                  <a:lnTo>
                    <a:pt x="5054" y="7692"/>
                  </a:lnTo>
                  <a:lnTo>
                    <a:pt x="5029" y="7928"/>
                  </a:lnTo>
                  <a:lnTo>
                    <a:pt x="4999" y="8164"/>
                  </a:lnTo>
                  <a:lnTo>
                    <a:pt x="4963" y="8400"/>
                  </a:lnTo>
                  <a:lnTo>
                    <a:pt x="4918" y="8636"/>
                  </a:lnTo>
                  <a:lnTo>
                    <a:pt x="4868" y="8872"/>
                  </a:lnTo>
                  <a:lnTo>
                    <a:pt x="4868" y="8872"/>
                  </a:lnTo>
                  <a:lnTo>
                    <a:pt x="4812" y="9274"/>
                  </a:lnTo>
                  <a:lnTo>
                    <a:pt x="4762" y="9676"/>
                  </a:lnTo>
                  <a:lnTo>
                    <a:pt x="4717" y="10072"/>
                  </a:lnTo>
                  <a:lnTo>
                    <a:pt x="4682" y="10464"/>
                  </a:lnTo>
                  <a:lnTo>
                    <a:pt x="4657" y="10855"/>
                  </a:lnTo>
                  <a:lnTo>
                    <a:pt x="4641" y="11243"/>
                  </a:lnTo>
                  <a:lnTo>
                    <a:pt x="4632" y="11624"/>
                  </a:lnTo>
                  <a:lnTo>
                    <a:pt x="4632" y="12001"/>
                  </a:lnTo>
                  <a:lnTo>
                    <a:pt x="4641" y="12378"/>
                  </a:lnTo>
                  <a:lnTo>
                    <a:pt x="4662" y="12745"/>
                  </a:lnTo>
                  <a:lnTo>
                    <a:pt x="4687" y="13111"/>
                  </a:lnTo>
                  <a:lnTo>
                    <a:pt x="4727" y="13474"/>
                  </a:lnTo>
                  <a:lnTo>
                    <a:pt x="4778" y="13830"/>
                  </a:lnTo>
                  <a:lnTo>
                    <a:pt x="4837" y="14181"/>
                  </a:lnTo>
                  <a:lnTo>
                    <a:pt x="4913" y="14533"/>
                  </a:lnTo>
                  <a:lnTo>
                    <a:pt x="4953" y="14704"/>
                  </a:lnTo>
                  <a:lnTo>
                    <a:pt x="4993" y="14875"/>
                  </a:lnTo>
                  <a:lnTo>
                    <a:pt x="5069" y="15508"/>
                  </a:lnTo>
                  <a:lnTo>
                    <a:pt x="5069" y="16397"/>
                  </a:lnTo>
                  <a:lnTo>
                    <a:pt x="5069" y="16397"/>
                  </a:lnTo>
                  <a:lnTo>
                    <a:pt x="5069" y="16397"/>
                  </a:lnTo>
                  <a:lnTo>
                    <a:pt x="5044" y="16437"/>
                  </a:lnTo>
                  <a:lnTo>
                    <a:pt x="5029" y="16478"/>
                  </a:lnTo>
                  <a:lnTo>
                    <a:pt x="5018" y="16523"/>
                  </a:lnTo>
                  <a:lnTo>
                    <a:pt x="5013" y="16563"/>
                  </a:lnTo>
                  <a:lnTo>
                    <a:pt x="5018" y="16608"/>
                  </a:lnTo>
                  <a:lnTo>
                    <a:pt x="5029" y="16649"/>
                  </a:lnTo>
                  <a:lnTo>
                    <a:pt x="5044" y="16688"/>
                  </a:lnTo>
                  <a:lnTo>
                    <a:pt x="5069" y="16729"/>
                  </a:lnTo>
                  <a:lnTo>
                    <a:pt x="5069" y="16734"/>
                  </a:lnTo>
                  <a:lnTo>
                    <a:pt x="5069" y="17452"/>
                  </a:lnTo>
                  <a:lnTo>
                    <a:pt x="5069" y="17452"/>
                  </a:lnTo>
                  <a:lnTo>
                    <a:pt x="5054" y="17532"/>
                  </a:lnTo>
                  <a:lnTo>
                    <a:pt x="5029" y="17608"/>
                  </a:lnTo>
                  <a:lnTo>
                    <a:pt x="5004" y="17673"/>
                  </a:lnTo>
                  <a:lnTo>
                    <a:pt x="4968" y="17739"/>
                  </a:lnTo>
                  <a:lnTo>
                    <a:pt x="4933" y="17794"/>
                  </a:lnTo>
                  <a:lnTo>
                    <a:pt x="4888" y="17844"/>
                  </a:lnTo>
                  <a:lnTo>
                    <a:pt x="4843" y="17889"/>
                  </a:lnTo>
                  <a:lnTo>
                    <a:pt x="4787" y="17929"/>
                  </a:lnTo>
                  <a:lnTo>
                    <a:pt x="4732" y="17965"/>
                  </a:lnTo>
                  <a:lnTo>
                    <a:pt x="4672" y="18000"/>
                  </a:lnTo>
                  <a:lnTo>
                    <a:pt x="4607" y="18025"/>
                  </a:lnTo>
                  <a:lnTo>
                    <a:pt x="4536" y="18050"/>
                  </a:lnTo>
                  <a:lnTo>
                    <a:pt x="4466" y="18070"/>
                  </a:lnTo>
                  <a:lnTo>
                    <a:pt x="4390" y="18085"/>
                  </a:lnTo>
                  <a:lnTo>
                    <a:pt x="4315" y="18095"/>
                  </a:lnTo>
                  <a:lnTo>
                    <a:pt x="4235" y="18105"/>
                  </a:lnTo>
                  <a:lnTo>
                    <a:pt x="2542" y="18105"/>
                  </a:lnTo>
                </a:path>
              </a:pathLst>
            </a:custGeom>
            <a:noFill/>
            <a:ln w="12700">
              <a:solidFill>
                <a:schemeClr val="bg1">
                  <a:alpha val="30000"/>
                </a:schemeClr>
              </a:solidFill>
            </a:ln>
            <a:effectLst/>
          </p:spPr>
          <p:txBody>
            <a:bodyPr wrap="none" anchor="ctr"/>
            <a:lstStyle/>
            <a:p>
              <a:endParaRPr lang="en-US" sz="1709"/>
            </a:p>
          </p:txBody>
        </p:sp>
        <p:sp>
          <p:nvSpPr>
            <p:cNvPr id="14" name="Freeform 13">
              <a:extLst>
                <a:ext uri="{FF2B5EF4-FFF2-40B4-BE49-F238E27FC236}">
                  <a16:creationId xmlns:a16="http://schemas.microsoft.com/office/drawing/2014/main" id="{4A77C6DA-2596-C240-B839-058AC7353493}"/>
                </a:ext>
              </a:extLst>
            </p:cNvPr>
            <p:cNvSpPr>
              <a:spLocks noChangeArrowheads="1"/>
            </p:cNvSpPr>
            <p:nvPr/>
          </p:nvSpPr>
          <p:spPr bwMode="auto">
            <a:xfrm>
              <a:off x="5668206" y="1086914"/>
              <a:ext cx="1479255" cy="5049296"/>
            </a:xfrm>
            <a:custGeom>
              <a:avLst/>
              <a:gdLst>
                <a:gd name="T0" fmla="*/ 5349 w 5858"/>
                <a:gd name="T1" fmla="*/ 16141 h 19990"/>
                <a:gd name="T2" fmla="*/ 5289 w 5858"/>
                <a:gd name="T3" fmla="*/ 15548 h 19990"/>
                <a:gd name="T4" fmla="*/ 5319 w 5858"/>
                <a:gd name="T5" fmla="*/ 14920 h 19990"/>
                <a:gd name="T6" fmla="*/ 5807 w 5858"/>
                <a:gd name="T7" fmla="*/ 11554 h 19990"/>
                <a:gd name="T8" fmla="*/ 5741 w 5858"/>
                <a:gd name="T9" fmla="*/ 11278 h 19990"/>
                <a:gd name="T10" fmla="*/ 5706 w 5858"/>
                <a:gd name="T11" fmla="*/ 11162 h 19990"/>
                <a:gd name="T12" fmla="*/ 5771 w 5858"/>
                <a:gd name="T13" fmla="*/ 10018 h 19990"/>
                <a:gd name="T14" fmla="*/ 5721 w 5858"/>
                <a:gd name="T15" fmla="*/ 9018 h 19990"/>
                <a:gd name="T16" fmla="*/ 5536 w 5858"/>
                <a:gd name="T17" fmla="*/ 7943 h 19990"/>
                <a:gd name="T18" fmla="*/ 5505 w 5858"/>
                <a:gd name="T19" fmla="*/ 7295 h 19990"/>
                <a:gd name="T20" fmla="*/ 5505 w 5858"/>
                <a:gd name="T21" fmla="*/ 7179 h 19990"/>
                <a:gd name="T22" fmla="*/ 4586 w 5858"/>
                <a:gd name="T23" fmla="*/ 4466 h 19990"/>
                <a:gd name="T24" fmla="*/ 4290 w 5858"/>
                <a:gd name="T25" fmla="*/ 3371 h 19990"/>
                <a:gd name="T26" fmla="*/ 4184 w 5858"/>
                <a:gd name="T27" fmla="*/ 2738 h 19990"/>
                <a:gd name="T28" fmla="*/ 4159 w 5858"/>
                <a:gd name="T29" fmla="*/ 1583 h 19990"/>
                <a:gd name="T30" fmla="*/ 4184 w 5858"/>
                <a:gd name="T31" fmla="*/ 1512 h 19990"/>
                <a:gd name="T32" fmla="*/ 4290 w 5858"/>
                <a:gd name="T33" fmla="*/ 1432 h 19990"/>
                <a:gd name="T34" fmla="*/ 4179 w 5858"/>
                <a:gd name="T35" fmla="*/ 1015 h 19990"/>
                <a:gd name="T36" fmla="*/ 4103 w 5858"/>
                <a:gd name="T37" fmla="*/ 633 h 19990"/>
                <a:gd name="T38" fmla="*/ 4133 w 5858"/>
                <a:gd name="T39" fmla="*/ 477 h 19990"/>
                <a:gd name="T40" fmla="*/ 4174 w 5858"/>
                <a:gd name="T41" fmla="*/ 402 h 19990"/>
                <a:gd name="T42" fmla="*/ 4164 w 5858"/>
                <a:gd name="T43" fmla="*/ 276 h 19990"/>
                <a:gd name="T44" fmla="*/ 3983 w 5858"/>
                <a:gd name="T45" fmla="*/ 141 h 19990"/>
                <a:gd name="T46" fmla="*/ 3250 w 5858"/>
                <a:gd name="T47" fmla="*/ 15 h 19990"/>
                <a:gd name="T48" fmla="*/ 2608 w 5858"/>
                <a:gd name="T49" fmla="*/ 15 h 19990"/>
                <a:gd name="T50" fmla="*/ 1874 w 5858"/>
                <a:gd name="T51" fmla="*/ 141 h 19990"/>
                <a:gd name="T52" fmla="*/ 1693 w 5858"/>
                <a:gd name="T53" fmla="*/ 276 h 19990"/>
                <a:gd name="T54" fmla="*/ 1683 w 5858"/>
                <a:gd name="T55" fmla="*/ 402 h 19990"/>
                <a:gd name="T56" fmla="*/ 1723 w 5858"/>
                <a:gd name="T57" fmla="*/ 477 h 19990"/>
                <a:gd name="T58" fmla="*/ 1753 w 5858"/>
                <a:gd name="T59" fmla="*/ 633 h 19990"/>
                <a:gd name="T60" fmla="*/ 1678 w 5858"/>
                <a:gd name="T61" fmla="*/ 1015 h 19990"/>
                <a:gd name="T62" fmla="*/ 1563 w 5858"/>
                <a:gd name="T63" fmla="*/ 1432 h 19990"/>
                <a:gd name="T64" fmla="*/ 1673 w 5858"/>
                <a:gd name="T65" fmla="*/ 1512 h 19990"/>
                <a:gd name="T66" fmla="*/ 1698 w 5858"/>
                <a:gd name="T67" fmla="*/ 1583 h 19990"/>
                <a:gd name="T68" fmla="*/ 1668 w 5858"/>
                <a:gd name="T69" fmla="*/ 2738 h 19990"/>
                <a:gd name="T70" fmla="*/ 1563 w 5858"/>
                <a:gd name="T71" fmla="*/ 3371 h 19990"/>
                <a:gd name="T72" fmla="*/ 1271 w 5858"/>
                <a:gd name="T73" fmla="*/ 4466 h 19990"/>
                <a:gd name="T74" fmla="*/ 352 w 5858"/>
                <a:gd name="T75" fmla="*/ 7179 h 19990"/>
                <a:gd name="T76" fmla="*/ 397 w 5858"/>
                <a:gd name="T77" fmla="*/ 7601 h 19990"/>
                <a:gd name="T78" fmla="*/ 166 w 5858"/>
                <a:gd name="T79" fmla="*/ 8817 h 19990"/>
                <a:gd name="T80" fmla="*/ 101 w 5858"/>
                <a:gd name="T81" fmla="*/ 9907 h 19990"/>
                <a:gd name="T82" fmla="*/ 151 w 5858"/>
                <a:gd name="T83" fmla="*/ 11137 h 19990"/>
                <a:gd name="T84" fmla="*/ 116 w 5858"/>
                <a:gd name="T85" fmla="*/ 11278 h 19990"/>
                <a:gd name="T86" fmla="*/ 46 w 5858"/>
                <a:gd name="T87" fmla="*/ 11494 h 19990"/>
                <a:gd name="T88" fmla="*/ 523 w 5858"/>
                <a:gd name="T89" fmla="*/ 14794 h 19990"/>
                <a:gd name="T90" fmla="*/ 568 w 5858"/>
                <a:gd name="T91" fmla="*/ 15422 h 19990"/>
                <a:gd name="T92" fmla="*/ 528 w 5858"/>
                <a:gd name="T93" fmla="*/ 16025 h 19990"/>
                <a:gd name="T94" fmla="*/ 60 w 5858"/>
                <a:gd name="T95" fmla="*/ 17769 h 19990"/>
                <a:gd name="T96" fmla="*/ 0 w 5858"/>
                <a:gd name="T97" fmla="*/ 18311 h 19990"/>
                <a:gd name="T98" fmla="*/ 30 w 5858"/>
                <a:gd name="T99" fmla="*/ 18818 h 19990"/>
                <a:gd name="T100" fmla="*/ 146 w 5858"/>
                <a:gd name="T101" fmla="*/ 19266 h 19990"/>
                <a:gd name="T102" fmla="*/ 558 w 5858"/>
                <a:gd name="T103" fmla="*/ 19552 h 19990"/>
                <a:gd name="T104" fmla="*/ 1342 w 5858"/>
                <a:gd name="T105" fmla="*/ 19829 h 19990"/>
                <a:gd name="T106" fmla="*/ 2266 w 5858"/>
                <a:gd name="T107" fmla="*/ 19974 h 19990"/>
                <a:gd name="T108" fmla="*/ 2989 w 5858"/>
                <a:gd name="T109" fmla="*/ 19984 h 19990"/>
                <a:gd name="T110" fmla="*/ 3782 w 5858"/>
                <a:gd name="T111" fmla="*/ 19959 h 19990"/>
                <a:gd name="T112" fmla="*/ 4686 w 5858"/>
                <a:gd name="T113" fmla="*/ 19778 h 19990"/>
                <a:gd name="T114" fmla="*/ 5430 w 5858"/>
                <a:gd name="T115" fmla="*/ 19487 h 19990"/>
                <a:gd name="T116" fmla="*/ 5741 w 5858"/>
                <a:gd name="T117" fmla="*/ 19181 h 19990"/>
                <a:gd name="T118" fmla="*/ 5842 w 5858"/>
                <a:gd name="T119" fmla="*/ 18723 h 19990"/>
                <a:gd name="T120" fmla="*/ 5852 w 5858"/>
                <a:gd name="T121" fmla="*/ 18206 h 19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8" h="19990">
                  <a:moveTo>
                    <a:pt x="5796" y="17769"/>
                  </a:moveTo>
                  <a:lnTo>
                    <a:pt x="5399" y="16372"/>
                  </a:lnTo>
                  <a:lnTo>
                    <a:pt x="5399" y="16372"/>
                  </a:lnTo>
                  <a:lnTo>
                    <a:pt x="5374" y="16256"/>
                  </a:lnTo>
                  <a:lnTo>
                    <a:pt x="5349" y="16141"/>
                  </a:lnTo>
                  <a:lnTo>
                    <a:pt x="5329" y="16025"/>
                  </a:lnTo>
                  <a:lnTo>
                    <a:pt x="5314" y="15910"/>
                  </a:lnTo>
                  <a:lnTo>
                    <a:pt x="5299" y="15789"/>
                  </a:lnTo>
                  <a:lnTo>
                    <a:pt x="5294" y="15668"/>
                  </a:lnTo>
                  <a:lnTo>
                    <a:pt x="5289" y="15548"/>
                  </a:lnTo>
                  <a:lnTo>
                    <a:pt x="5289" y="15422"/>
                  </a:lnTo>
                  <a:lnTo>
                    <a:pt x="5289" y="15302"/>
                  </a:lnTo>
                  <a:lnTo>
                    <a:pt x="5294" y="15176"/>
                  </a:lnTo>
                  <a:lnTo>
                    <a:pt x="5304" y="15050"/>
                  </a:lnTo>
                  <a:lnTo>
                    <a:pt x="5319" y="14920"/>
                  </a:lnTo>
                  <a:lnTo>
                    <a:pt x="5335" y="14794"/>
                  </a:lnTo>
                  <a:lnTo>
                    <a:pt x="5354" y="14664"/>
                  </a:lnTo>
                  <a:lnTo>
                    <a:pt x="5399" y="14398"/>
                  </a:lnTo>
                  <a:lnTo>
                    <a:pt x="5807" y="11554"/>
                  </a:lnTo>
                  <a:lnTo>
                    <a:pt x="5807" y="11554"/>
                  </a:lnTo>
                  <a:lnTo>
                    <a:pt x="5812" y="11494"/>
                  </a:lnTo>
                  <a:lnTo>
                    <a:pt x="5802" y="11428"/>
                  </a:lnTo>
                  <a:lnTo>
                    <a:pt x="5787" y="11368"/>
                  </a:lnTo>
                  <a:lnTo>
                    <a:pt x="5762" y="11308"/>
                  </a:lnTo>
                  <a:lnTo>
                    <a:pt x="5741" y="11278"/>
                  </a:lnTo>
                  <a:lnTo>
                    <a:pt x="5741" y="11278"/>
                  </a:lnTo>
                  <a:lnTo>
                    <a:pt x="5726" y="11247"/>
                  </a:lnTo>
                  <a:lnTo>
                    <a:pt x="5716" y="11222"/>
                  </a:lnTo>
                  <a:lnTo>
                    <a:pt x="5711" y="11192"/>
                  </a:lnTo>
                  <a:lnTo>
                    <a:pt x="5706" y="11162"/>
                  </a:lnTo>
                  <a:lnTo>
                    <a:pt x="5706" y="11162"/>
                  </a:lnTo>
                  <a:lnTo>
                    <a:pt x="5726" y="10836"/>
                  </a:lnTo>
                  <a:lnTo>
                    <a:pt x="5746" y="10514"/>
                  </a:lnTo>
                  <a:lnTo>
                    <a:pt x="5766" y="10188"/>
                  </a:lnTo>
                  <a:lnTo>
                    <a:pt x="5771" y="10018"/>
                  </a:lnTo>
                  <a:lnTo>
                    <a:pt x="5771" y="9837"/>
                  </a:lnTo>
                  <a:lnTo>
                    <a:pt x="5771" y="9651"/>
                  </a:lnTo>
                  <a:lnTo>
                    <a:pt x="5762" y="9450"/>
                  </a:lnTo>
                  <a:lnTo>
                    <a:pt x="5746" y="9239"/>
                  </a:lnTo>
                  <a:lnTo>
                    <a:pt x="5721" y="9018"/>
                  </a:lnTo>
                  <a:lnTo>
                    <a:pt x="5691" y="8772"/>
                  </a:lnTo>
                  <a:lnTo>
                    <a:pt x="5651" y="8515"/>
                  </a:lnTo>
                  <a:lnTo>
                    <a:pt x="5600" y="8234"/>
                  </a:lnTo>
                  <a:lnTo>
                    <a:pt x="5536" y="7933"/>
                  </a:lnTo>
                  <a:lnTo>
                    <a:pt x="5536" y="7943"/>
                  </a:lnTo>
                  <a:lnTo>
                    <a:pt x="5536" y="7943"/>
                  </a:lnTo>
                  <a:lnTo>
                    <a:pt x="5460" y="7601"/>
                  </a:lnTo>
                  <a:lnTo>
                    <a:pt x="5460" y="7601"/>
                  </a:lnTo>
                  <a:lnTo>
                    <a:pt x="5536" y="7933"/>
                  </a:lnTo>
                  <a:lnTo>
                    <a:pt x="5505" y="7295"/>
                  </a:lnTo>
                  <a:lnTo>
                    <a:pt x="5505" y="7295"/>
                  </a:lnTo>
                  <a:lnTo>
                    <a:pt x="5510" y="7265"/>
                  </a:lnTo>
                  <a:lnTo>
                    <a:pt x="5515" y="7240"/>
                  </a:lnTo>
                  <a:lnTo>
                    <a:pt x="5510" y="7209"/>
                  </a:lnTo>
                  <a:lnTo>
                    <a:pt x="5505" y="7179"/>
                  </a:lnTo>
                  <a:lnTo>
                    <a:pt x="4762" y="4964"/>
                  </a:lnTo>
                  <a:lnTo>
                    <a:pt x="4762" y="4964"/>
                  </a:lnTo>
                  <a:lnTo>
                    <a:pt x="4701" y="4818"/>
                  </a:lnTo>
                  <a:lnTo>
                    <a:pt x="4641" y="4652"/>
                  </a:lnTo>
                  <a:lnTo>
                    <a:pt x="4586" y="4466"/>
                  </a:lnTo>
                  <a:lnTo>
                    <a:pt x="4525" y="4270"/>
                  </a:lnTo>
                  <a:lnTo>
                    <a:pt x="4465" y="4059"/>
                  </a:lnTo>
                  <a:lnTo>
                    <a:pt x="4410" y="3838"/>
                  </a:lnTo>
                  <a:lnTo>
                    <a:pt x="4290" y="3371"/>
                  </a:lnTo>
                  <a:lnTo>
                    <a:pt x="4290" y="3371"/>
                  </a:lnTo>
                  <a:lnTo>
                    <a:pt x="4264" y="3246"/>
                  </a:lnTo>
                  <a:lnTo>
                    <a:pt x="4239" y="3120"/>
                  </a:lnTo>
                  <a:lnTo>
                    <a:pt x="4219" y="2994"/>
                  </a:lnTo>
                  <a:lnTo>
                    <a:pt x="4199" y="2869"/>
                  </a:lnTo>
                  <a:lnTo>
                    <a:pt x="4184" y="2738"/>
                  </a:lnTo>
                  <a:lnTo>
                    <a:pt x="4174" y="2612"/>
                  </a:lnTo>
                  <a:lnTo>
                    <a:pt x="4169" y="2487"/>
                  </a:lnTo>
                  <a:lnTo>
                    <a:pt x="4164" y="2356"/>
                  </a:lnTo>
                  <a:lnTo>
                    <a:pt x="4164" y="2356"/>
                  </a:lnTo>
                  <a:lnTo>
                    <a:pt x="4159" y="1583"/>
                  </a:lnTo>
                  <a:lnTo>
                    <a:pt x="4159" y="1583"/>
                  </a:lnTo>
                  <a:lnTo>
                    <a:pt x="4159" y="1562"/>
                  </a:lnTo>
                  <a:lnTo>
                    <a:pt x="4164" y="1547"/>
                  </a:lnTo>
                  <a:lnTo>
                    <a:pt x="4174" y="1527"/>
                  </a:lnTo>
                  <a:lnTo>
                    <a:pt x="4184" y="1512"/>
                  </a:lnTo>
                  <a:lnTo>
                    <a:pt x="4209" y="1487"/>
                  </a:lnTo>
                  <a:lnTo>
                    <a:pt x="4244" y="1472"/>
                  </a:lnTo>
                  <a:lnTo>
                    <a:pt x="4244" y="1472"/>
                  </a:lnTo>
                  <a:lnTo>
                    <a:pt x="4274" y="1457"/>
                  </a:lnTo>
                  <a:lnTo>
                    <a:pt x="4290" y="1432"/>
                  </a:lnTo>
                  <a:lnTo>
                    <a:pt x="4304" y="1396"/>
                  </a:lnTo>
                  <a:lnTo>
                    <a:pt x="4309" y="1351"/>
                  </a:lnTo>
                  <a:lnTo>
                    <a:pt x="4309" y="1351"/>
                  </a:lnTo>
                  <a:lnTo>
                    <a:pt x="4214" y="1120"/>
                  </a:lnTo>
                  <a:lnTo>
                    <a:pt x="4179" y="1015"/>
                  </a:lnTo>
                  <a:lnTo>
                    <a:pt x="4149" y="919"/>
                  </a:lnTo>
                  <a:lnTo>
                    <a:pt x="4124" y="834"/>
                  </a:lnTo>
                  <a:lnTo>
                    <a:pt x="4108" y="753"/>
                  </a:lnTo>
                  <a:lnTo>
                    <a:pt x="4103" y="689"/>
                  </a:lnTo>
                  <a:lnTo>
                    <a:pt x="4103" y="633"/>
                  </a:lnTo>
                  <a:lnTo>
                    <a:pt x="4103" y="633"/>
                  </a:lnTo>
                  <a:lnTo>
                    <a:pt x="4099" y="593"/>
                  </a:lnTo>
                  <a:lnTo>
                    <a:pt x="4103" y="552"/>
                  </a:lnTo>
                  <a:lnTo>
                    <a:pt x="4114" y="513"/>
                  </a:lnTo>
                  <a:lnTo>
                    <a:pt x="4133" y="477"/>
                  </a:lnTo>
                  <a:lnTo>
                    <a:pt x="4139" y="472"/>
                  </a:lnTo>
                  <a:lnTo>
                    <a:pt x="4139" y="472"/>
                  </a:lnTo>
                  <a:lnTo>
                    <a:pt x="4154" y="452"/>
                  </a:lnTo>
                  <a:lnTo>
                    <a:pt x="4164" y="427"/>
                  </a:lnTo>
                  <a:lnTo>
                    <a:pt x="4174" y="402"/>
                  </a:lnTo>
                  <a:lnTo>
                    <a:pt x="4179" y="377"/>
                  </a:lnTo>
                  <a:lnTo>
                    <a:pt x="4179" y="352"/>
                  </a:lnTo>
                  <a:lnTo>
                    <a:pt x="4179" y="326"/>
                  </a:lnTo>
                  <a:lnTo>
                    <a:pt x="4174" y="301"/>
                  </a:lnTo>
                  <a:lnTo>
                    <a:pt x="4164" y="276"/>
                  </a:lnTo>
                  <a:lnTo>
                    <a:pt x="4164" y="276"/>
                  </a:lnTo>
                  <a:lnTo>
                    <a:pt x="4139" y="231"/>
                  </a:lnTo>
                  <a:lnTo>
                    <a:pt x="4114" y="181"/>
                  </a:lnTo>
                  <a:lnTo>
                    <a:pt x="4114" y="181"/>
                  </a:lnTo>
                  <a:lnTo>
                    <a:pt x="3983" y="141"/>
                  </a:lnTo>
                  <a:lnTo>
                    <a:pt x="3848" y="100"/>
                  </a:lnTo>
                  <a:lnTo>
                    <a:pt x="3702" y="71"/>
                  </a:lnTo>
                  <a:lnTo>
                    <a:pt x="3556" y="45"/>
                  </a:lnTo>
                  <a:lnTo>
                    <a:pt x="3405" y="25"/>
                  </a:lnTo>
                  <a:lnTo>
                    <a:pt x="3250" y="15"/>
                  </a:lnTo>
                  <a:lnTo>
                    <a:pt x="3094" y="5"/>
                  </a:lnTo>
                  <a:lnTo>
                    <a:pt x="2929" y="0"/>
                  </a:lnTo>
                  <a:lnTo>
                    <a:pt x="2929" y="0"/>
                  </a:lnTo>
                  <a:lnTo>
                    <a:pt x="2763" y="5"/>
                  </a:lnTo>
                  <a:lnTo>
                    <a:pt x="2608" y="15"/>
                  </a:lnTo>
                  <a:lnTo>
                    <a:pt x="2452" y="25"/>
                  </a:lnTo>
                  <a:lnTo>
                    <a:pt x="2301" y="45"/>
                  </a:lnTo>
                  <a:lnTo>
                    <a:pt x="2150" y="71"/>
                  </a:lnTo>
                  <a:lnTo>
                    <a:pt x="2010" y="100"/>
                  </a:lnTo>
                  <a:lnTo>
                    <a:pt x="1874" y="141"/>
                  </a:lnTo>
                  <a:lnTo>
                    <a:pt x="1743" y="181"/>
                  </a:lnTo>
                  <a:lnTo>
                    <a:pt x="1743" y="181"/>
                  </a:lnTo>
                  <a:lnTo>
                    <a:pt x="1718" y="231"/>
                  </a:lnTo>
                  <a:lnTo>
                    <a:pt x="1693" y="276"/>
                  </a:lnTo>
                  <a:lnTo>
                    <a:pt x="1693" y="276"/>
                  </a:lnTo>
                  <a:lnTo>
                    <a:pt x="1683" y="301"/>
                  </a:lnTo>
                  <a:lnTo>
                    <a:pt x="1678" y="326"/>
                  </a:lnTo>
                  <a:lnTo>
                    <a:pt x="1678" y="352"/>
                  </a:lnTo>
                  <a:lnTo>
                    <a:pt x="1678" y="377"/>
                  </a:lnTo>
                  <a:lnTo>
                    <a:pt x="1683" y="402"/>
                  </a:lnTo>
                  <a:lnTo>
                    <a:pt x="1693" y="427"/>
                  </a:lnTo>
                  <a:lnTo>
                    <a:pt x="1703" y="452"/>
                  </a:lnTo>
                  <a:lnTo>
                    <a:pt x="1718" y="472"/>
                  </a:lnTo>
                  <a:lnTo>
                    <a:pt x="1723" y="477"/>
                  </a:lnTo>
                  <a:lnTo>
                    <a:pt x="1723" y="477"/>
                  </a:lnTo>
                  <a:lnTo>
                    <a:pt x="1743" y="513"/>
                  </a:lnTo>
                  <a:lnTo>
                    <a:pt x="1753" y="552"/>
                  </a:lnTo>
                  <a:lnTo>
                    <a:pt x="1759" y="593"/>
                  </a:lnTo>
                  <a:lnTo>
                    <a:pt x="1753" y="633"/>
                  </a:lnTo>
                  <a:lnTo>
                    <a:pt x="1753" y="633"/>
                  </a:lnTo>
                  <a:lnTo>
                    <a:pt x="1753" y="689"/>
                  </a:lnTo>
                  <a:lnTo>
                    <a:pt x="1748" y="753"/>
                  </a:lnTo>
                  <a:lnTo>
                    <a:pt x="1733" y="834"/>
                  </a:lnTo>
                  <a:lnTo>
                    <a:pt x="1708" y="919"/>
                  </a:lnTo>
                  <a:lnTo>
                    <a:pt x="1678" y="1015"/>
                  </a:lnTo>
                  <a:lnTo>
                    <a:pt x="1643" y="1120"/>
                  </a:lnTo>
                  <a:lnTo>
                    <a:pt x="1547" y="1351"/>
                  </a:lnTo>
                  <a:lnTo>
                    <a:pt x="1547" y="1351"/>
                  </a:lnTo>
                  <a:lnTo>
                    <a:pt x="1552" y="1396"/>
                  </a:lnTo>
                  <a:lnTo>
                    <a:pt x="1563" y="1432"/>
                  </a:lnTo>
                  <a:lnTo>
                    <a:pt x="1583" y="1457"/>
                  </a:lnTo>
                  <a:lnTo>
                    <a:pt x="1613" y="1472"/>
                  </a:lnTo>
                  <a:lnTo>
                    <a:pt x="1613" y="1472"/>
                  </a:lnTo>
                  <a:lnTo>
                    <a:pt x="1648" y="1487"/>
                  </a:lnTo>
                  <a:lnTo>
                    <a:pt x="1673" y="1512"/>
                  </a:lnTo>
                  <a:lnTo>
                    <a:pt x="1683" y="1527"/>
                  </a:lnTo>
                  <a:lnTo>
                    <a:pt x="1693" y="1547"/>
                  </a:lnTo>
                  <a:lnTo>
                    <a:pt x="1698" y="1562"/>
                  </a:lnTo>
                  <a:lnTo>
                    <a:pt x="1698" y="1583"/>
                  </a:lnTo>
                  <a:lnTo>
                    <a:pt x="1698" y="1583"/>
                  </a:lnTo>
                  <a:lnTo>
                    <a:pt x="1693" y="2356"/>
                  </a:lnTo>
                  <a:lnTo>
                    <a:pt x="1693" y="2356"/>
                  </a:lnTo>
                  <a:lnTo>
                    <a:pt x="1688" y="2487"/>
                  </a:lnTo>
                  <a:lnTo>
                    <a:pt x="1683" y="2612"/>
                  </a:lnTo>
                  <a:lnTo>
                    <a:pt x="1668" y="2738"/>
                  </a:lnTo>
                  <a:lnTo>
                    <a:pt x="1658" y="2869"/>
                  </a:lnTo>
                  <a:lnTo>
                    <a:pt x="1638" y="2994"/>
                  </a:lnTo>
                  <a:lnTo>
                    <a:pt x="1618" y="3120"/>
                  </a:lnTo>
                  <a:lnTo>
                    <a:pt x="1593" y="3246"/>
                  </a:lnTo>
                  <a:lnTo>
                    <a:pt x="1563" y="3371"/>
                  </a:lnTo>
                  <a:lnTo>
                    <a:pt x="1563" y="3371"/>
                  </a:lnTo>
                  <a:lnTo>
                    <a:pt x="1447" y="3838"/>
                  </a:lnTo>
                  <a:lnTo>
                    <a:pt x="1392" y="4059"/>
                  </a:lnTo>
                  <a:lnTo>
                    <a:pt x="1331" y="4270"/>
                  </a:lnTo>
                  <a:lnTo>
                    <a:pt x="1271" y="4466"/>
                  </a:lnTo>
                  <a:lnTo>
                    <a:pt x="1211" y="4652"/>
                  </a:lnTo>
                  <a:lnTo>
                    <a:pt x="1155" y="4818"/>
                  </a:lnTo>
                  <a:lnTo>
                    <a:pt x="1095" y="4964"/>
                  </a:lnTo>
                  <a:lnTo>
                    <a:pt x="352" y="7179"/>
                  </a:lnTo>
                  <a:lnTo>
                    <a:pt x="352" y="7179"/>
                  </a:lnTo>
                  <a:lnTo>
                    <a:pt x="347" y="7209"/>
                  </a:lnTo>
                  <a:lnTo>
                    <a:pt x="342" y="7240"/>
                  </a:lnTo>
                  <a:lnTo>
                    <a:pt x="347" y="7265"/>
                  </a:lnTo>
                  <a:lnTo>
                    <a:pt x="352" y="7295"/>
                  </a:lnTo>
                  <a:lnTo>
                    <a:pt x="397" y="7601"/>
                  </a:lnTo>
                  <a:lnTo>
                    <a:pt x="397" y="7601"/>
                  </a:lnTo>
                  <a:lnTo>
                    <a:pt x="317" y="7943"/>
                  </a:lnTo>
                  <a:lnTo>
                    <a:pt x="256" y="8260"/>
                  </a:lnTo>
                  <a:lnTo>
                    <a:pt x="206" y="8545"/>
                  </a:lnTo>
                  <a:lnTo>
                    <a:pt x="166" y="8817"/>
                  </a:lnTo>
                  <a:lnTo>
                    <a:pt x="141" y="9063"/>
                  </a:lnTo>
                  <a:lnTo>
                    <a:pt x="121" y="9294"/>
                  </a:lnTo>
                  <a:lnTo>
                    <a:pt x="106" y="9510"/>
                  </a:lnTo>
                  <a:lnTo>
                    <a:pt x="101" y="9716"/>
                  </a:lnTo>
                  <a:lnTo>
                    <a:pt x="101" y="9907"/>
                  </a:lnTo>
                  <a:lnTo>
                    <a:pt x="106" y="10093"/>
                  </a:lnTo>
                  <a:lnTo>
                    <a:pt x="121" y="10440"/>
                  </a:lnTo>
                  <a:lnTo>
                    <a:pt x="141" y="10785"/>
                  </a:lnTo>
                  <a:lnTo>
                    <a:pt x="146" y="10956"/>
                  </a:lnTo>
                  <a:lnTo>
                    <a:pt x="151" y="11137"/>
                  </a:lnTo>
                  <a:lnTo>
                    <a:pt x="151" y="11137"/>
                  </a:lnTo>
                  <a:lnTo>
                    <a:pt x="151" y="11172"/>
                  </a:lnTo>
                  <a:lnTo>
                    <a:pt x="141" y="11207"/>
                  </a:lnTo>
                  <a:lnTo>
                    <a:pt x="131" y="11243"/>
                  </a:lnTo>
                  <a:lnTo>
                    <a:pt x="116" y="11278"/>
                  </a:lnTo>
                  <a:lnTo>
                    <a:pt x="96" y="11308"/>
                  </a:lnTo>
                  <a:lnTo>
                    <a:pt x="96" y="11308"/>
                  </a:lnTo>
                  <a:lnTo>
                    <a:pt x="71" y="11368"/>
                  </a:lnTo>
                  <a:lnTo>
                    <a:pt x="51" y="11428"/>
                  </a:lnTo>
                  <a:lnTo>
                    <a:pt x="46" y="11494"/>
                  </a:lnTo>
                  <a:lnTo>
                    <a:pt x="51" y="11554"/>
                  </a:lnTo>
                  <a:lnTo>
                    <a:pt x="457" y="14398"/>
                  </a:lnTo>
                  <a:lnTo>
                    <a:pt x="457" y="14398"/>
                  </a:lnTo>
                  <a:lnTo>
                    <a:pt x="503" y="14664"/>
                  </a:lnTo>
                  <a:lnTo>
                    <a:pt x="523" y="14794"/>
                  </a:lnTo>
                  <a:lnTo>
                    <a:pt x="538" y="14920"/>
                  </a:lnTo>
                  <a:lnTo>
                    <a:pt x="553" y="15050"/>
                  </a:lnTo>
                  <a:lnTo>
                    <a:pt x="563" y="15176"/>
                  </a:lnTo>
                  <a:lnTo>
                    <a:pt x="568" y="15302"/>
                  </a:lnTo>
                  <a:lnTo>
                    <a:pt x="568" y="15422"/>
                  </a:lnTo>
                  <a:lnTo>
                    <a:pt x="568" y="15548"/>
                  </a:lnTo>
                  <a:lnTo>
                    <a:pt x="563" y="15668"/>
                  </a:lnTo>
                  <a:lnTo>
                    <a:pt x="553" y="15789"/>
                  </a:lnTo>
                  <a:lnTo>
                    <a:pt x="543" y="15910"/>
                  </a:lnTo>
                  <a:lnTo>
                    <a:pt x="528" y="16025"/>
                  </a:lnTo>
                  <a:lnTo>
                    <a:pt x="507" y="16141"/>
                  </a:lnTo>
                  <a:lnTo>
                    <a:pt x="482" y="16256"/>
                  </a:lnTo>
                  <a:lnTo>
                    <a:pt x="457" y="16372"/>
                  </a:lnTo>
                  <a:lnTo>
                    <a:pt x="60" y="17769"/>
                  </a:lnTo>
                  <a:lnTo>
                    <a:pt x="60" y="17769"/>
                  </a:lnTo>
                  <a:lnTo>
                    <a:pt x="40" y="17879"/>
                  </a:lnTo>
                  <a:lnTo>
                    <a:pt x="26" y="17990"/>
                  </a:lnTo>
                  <a:lnTo>
                    <a:pt x="15" y="18100"/>
                  </a:lnTo>
                  <a:lnTo>
                    <a:pt x="5" y="18206"/>
                  </a:lnTo>
                  <a:lnTo>
                    <a:pt x="0" y="18311"/>
                  </a:lnTo>
                  <a:lnTo>
                    <a:pt x="0" y="18417"/>
                  </a:lnTo>
                  <a:lnTo>
                    <a:pt x="0" y="18522"/>
                  </a:lnTo>
                  <a:lnTo>
                    <a:pt x="5" y="18622"/>
                  </a:lnTo>
                  <a:lnTo>
                    <a:pt x="15" y="18723"/>
                  </a:lnTo>
                  <a:lnTo>
                    <a:pt x="30" y="18818"/>
                  </a:lnTo>
                  <a:lnTo>
                    <a:pt x="46" y="18914"/>
                  </a:lnTo>
                  <a:lnTo>
                    <a:pt x="65" y="19010"/>
                  </a:lnTo>
                  <a:lnTo>
                    <a:pt x="90" y="19095"/>
                  </a:lnTo>
                  <a:lnTo>
                    <a:pt x="116" y="19181"/>
                  </a:lnTo>
                  <a:lnTo>
                    <a:pt x="146" y="19266"/>
                  </a:lnTo>
                  <a:lnTo>
                    <a:pt x="181" y="19346"/>
                  </a:lnTo>
                  <a:lnTo>
                    <a:pt x="181" y="19346"/>
                  </a:lnTo>
                  <a:lnTo>
                    <a:pt x="297" y="19416"/>
                  </a:lnTo>
                  <a:lnTo>
                    <a:pt x="422" y="19487"/>
                  </a:lnTo>
                  <a:lnTo>
                    <a:pt x="558" y="19552"/>
                  </a:lnTo>
                  <a:lnTo>
                    <a:pt x="699" y="19612"/>
                  </a:lnTo>
                  <a:lnTo>
                    <a:pt x="849" y="19673"/>
                  </a:lnTo>
                  <a:lnTo>
                    <a:pt x="1005" y="19728"/>
                  </a:lnTo>
                  <a:lnTo>
                    <a:pt x="1171" y="19778"/>
                  </a:lnTo>
                  <a:lnTo>
                    <a:pt x="1342" y="19829"/>
                  </a:lnTo>
                  <a:lnTo>
                    <a:pt x="1517" y="19869"/>
                  </a:lnTo>
                  <a:lnTo>
                    <a:pt x="1698" y="19904"/>
                  </a:lnTo>
                  <a:lnTo>
                    <a:pt x="1884" y="19934"/>
                  </a:lnTo>
                  <a:lnTo>
                    <a:pt x="2075" y="19959"/>
                  </a:lnTo>
                  <a:lnTo>
                    <a:pt x="2266" y="19974"/>
                  </a:lnTo>
                  <a:lnTo>
                    <a:pt x="2467" y="19984"/>
                  </a:lnTo>
                  <a:lnTo>
                    <a:pt x="2668" y="19989"/>
                  </a:lnTo>
                  <a:lnTo>
                    <a:pt x="2868" y="19984"/>
                  </a:lnTo>
                  <a:lnTo>
                    <a:pt x="2868" y="19984"/>
                  </a:lnTo>
                  <a:lnTo>
                    <a:pt x="2989" y="19984"/>
                  </a:lnTo>
                  <a:lnTo>
                    <a:pt x="2989" y="19984"/>
                  </a:lnTo>
                  <a:lnTo>
                    <a:pt x="3189" y="19989"/>
                  </a:lnTo>
                  <a:lnTo>
                    <a:pt x="3390" y="19984"/>
                  </a:lnTo>
                  <a:lnTo>
                    <a:pt x="3591" y="19974"/>
                  </a:lnTo>
                  <a:lnTo>
                    <a:pt x="3782" y="19959"/>
                  </a:lnTo>
                  <a:lnTo>
                    <a:pt x="3973" y="19934"/>
                  </a:lnTo>
                  <a:lnTo>
                    <a:pt x="4159" y="19904"/>
                  </a:lnTo>
                  <a:lnTo>
                    <a:pt x="4340" y="19869"/>
                  </a:lnTo>
                  <a:lnTo>
                    <a:pt x="4516" y="19829"/>
                  </a:lnTo>
                  <a:lnTo>
                    <a:pt x="4686" y="19778"/>
                  </a:lnTo>
                  <a:lnTo>
                    <a:pt x="4847" y="19728"/>
                  </a:lnTo>
                  <a:lnTo>
                    <a:pt x="5008" y="19673"/>
                  </a:lnTo>
                  <a:lnTo>
                    <a:pt x="5153" y="19612"/>
                  </a:lnTo>
                  <a:lnTo>
                    <a:pt x="5299" y="19552"/>
                  </a:lnTo>
                  <a:lnTo>
                    <a:pt x="5430" y="19487"/>
                  </a:lnTo>
                  <a:lnTo>
                    <a:pt x="5556" y="19416"/>
                  </a:lnTo>
                  <a:lnTo>
                    <a:pt x="5676" y="19346"/>
                  </a:lnTo>
                  <a:lnTo>
                    <a:pt x="5676" y="19346"/>
                  </a:lnTo>
                  <a:lnTo>
                    <a:pt x="5711" y="19266"/>
                  </a:lnTo>
                  <a:lnTo>
                    <a:pt x="5741" y="19181"/>
                  </a:lnTo>
                  <a:lnTo>
                    <a:pt x="5766" y="19095"/>
                  </a:lnTo>
                  <a:lnTo>
                    <a:pt x="5791" y="19010"/>
                  </a:lnTo>
                  <a:lnTo>
                    <a:pt x="5812" y="18914"/>
                  </a:lnTo>
                  <a:lnTo>
                    <a:pt x="5827" y="18818"/>
                  </a:lnTo>
                  <a:lnTo>
                    <a:pt x="5842" y="18723"/>
                  </a:lnTo>
                  <a:lnTo>
                    <a:pt x="5852" y="18622"/>
                  </a:lnTo>
                  <a:lnTo>
                    <a:pt x="5857" y="18522"/>
                  </a:lnTo>
                  <a:lnTo>
                    <a:pt x="5857" y="18417"/>
                  </a:lnTo>
                  <a:lnTo>
                    <a:pt x="5857" y="18311"/>
                  </a:lnTo>
                  <a:lnTo>
                    <a:pt x="5852" y="18206"/>
                  </a:lnTo>
                  <a:lnTo>
                    <a:pt x="5842" y="18100"/>
                  </a:lnTo>
                  <a:lnTo>
                    <a:pt x="5832" y="17990"/>
                  </a:lnTo>
                  <a:lnTo>
                    <a:pt x="5817" y="17879"/>
                  </a:lnTo>
                  <a:lnTo>
                    <a:pt x="5796" y="17769"/>
                  </a:lnTo>
                </a:path>
              </a:pathLst>
            </a:custGeom>
            <a:noFill/>
            <a:ln w="12700">
              <a:solidFill>
                <a:schemeClr val="bg1">
                  <a:alpha val="30000"/>
                </a:schemeClr>
              </a:solidFill>
            </a:ln>
            <a:effectLst/>
          </p:spPr>
          <p:txBody>
            <a:bodyPr wrap="none" anchor="ctr"/>
            <a:lstStyle/>
            <a:p>
              <a:endParaRPr lang="en-US" sz="1709"/>
            </a:p>
          </p:txBody>
        </p:sp>
        <p:cxnSp>
          <p:nvCxnSpPr>
            <p:cNvPr id="18" name="Straight Connector 17">
              <a:extLst>
                <a:ext uri="{FF2B5EF4-FFF2-40B4-BE49-F238E27FC236}">
                  <a16:creationId xmlns:a16="http://schemas.microsoft.com/office/drawing/2014/main" id="{144CF631-195D-5742-BCE7-86133F62121F}"/>
                </a:ext>
              </a:extLst>
            </p:cNvPr>
            <p:cNvCxnSpPr>
              <a:stCxn id="9" idx="11"/>
            </p:cNvCxnSpPr>
            <p:nvPr userDrawn="1"/>
          </p:nvCxnSpPr>
          <p:spPr>
            <a:xfrm flipH="1" flipV="1">
              <a:off x="3049434" y="3435531"/>
              <a:ext cx="1379446" cy="1751"/>
            </a:xfrm>
            <a:prstGeom prst="line">
              <a:avLst/>
            </a:prstGeom>
            <a:noFill/>
            <a:ln w="12700">
              <a:solidFill>
                <a:schemeClr val="bg1">
                  <a:alpha val="30000"/>
                </a:schemeClr>
              </a:solidFill>
            </a:ln>
            <a:effectLst/>
          </p:spPr>
        </p:cxnSp>
        <p:cxnSp>
          <p:nvCxnSpPr>
            <p:cNvPr id="19" name="Straight Connector 18">
              <a:extLst>
                <a:ext uri="{FF2B5EF4-FFF2-40B4-BE49-F238E27FC236}">
                  <a16:creationId xmlns:a16="http://schemas.microsoft.com/office/drawing/2014/main" id="{C0182676-9672-1343-BA40-3F7A37BCE571}"/>
                </a:ext>
              </a:extLst>
            </p:cNvPr>
            <p:cNvCxnSpPr/>
            <p:nvPr userDrawn="1"/>
          </p:nvCxnSpPr>
          <p:spPr>
            <a:xfrm flipH="1" flipV="1">
              <a:off x="8411737" y="3435531"/>
              <a:ext cx="1379446" cy="1751"/>
            </a:xfrm>
            <a:prstGeom prst="line">
              <a:avLst/>
            </a:prstGeom>
            <a:noFill/>
            <a:ln w="12700">
              <a:solidFill>
                <a:schemeClr val="bg1">
                  <a:alpha val="30000"/>
                </a:schemeClr>
              </a:solidFill>
            </a:ln>
            <a:effectLst/>
          </p:spPr>
        </p:cxnSp>
      </p:grpSp>
    </p:spTree>
    <p:extLst>
      <p:ext uri="{BB962C8B-B14F-4D97-AF65-F5344CB8AC3E}">
        <p14:creationId xmlns:p14="http://schemas.microsoft.com/office/powerpoint/2010/main" val="383388923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a:effectLst/>
      </p:grpSpPr>
      <p:pic>
        <p:nvPicPr>
          <p:cNvPr id="4" name="Picture 3"/>
          <p:cNvPicPr>
            <a:picLocks noChangeAspect="1"/>
          </p:cNvPicPr>
          <p:nvPr/>
        </p:nvPicPr>
        <p:blipFill rotWithShape="1">
          <a:blip r:embed="rId2">
            <a:extLst>
              <a:ext uri="{28A0092B-C50C-407E-A947-70E740481C1C}">
                <a14:useLocalDpi xmlns:a14="http://schemas.microsoft.com/office/drawing/2010/main"/>
              </a:ext>
            </a:extLst>
          </a:blip>
          <a:srcRect t="12167" r="18723" b="6227"/>
          <a:stretch/>
        </p:blipFill>
        <p:spPr>
          <a:xfrm>
            <a:off x="0" y="0"/>
            <a:ext cx="12192000" cy="6858000"/>
          </a:xfrm>
          <a:prstGeom prst="rect">
            <a:avLst/>
          </a:prstGeom>
          <a:effectLst/>
        </p:spPr>
      </p:pic>
      <p:sp>
        <p:nvSpPr>
          <p:cNvPr id="2" name="Title 1"/>
          <p:cNvSpPr>
            <a:spLocks noGrp="1"/>
          </p:cNvSpPr>
          <p:nvPr>
            <p:ph type="ctrTitle"/>
          </p:nvPr>
        </p:nvSpPr>
        <p:spPr>
          <a:xfrm>
            <a:off x="381995" y="2945417"/>
            <a:ext cx="3717181" cy="2083955"/>
          </a:xfrm>
          <a:prstGeom prst="rect">
            <a:avLst/>
          </a:prstGeom>
          <a:effectLst/>
        </p:spPr>
        <p:txBody>
          <a:bodyPr lIns="45720" tIns="45720" rIns="45720" bIns="45720" anchor="b" anchorCtr="0">
            <a:normAutofit/>
          </a:bodyPr>
          <a:lstStyle>
            <a:lvl1pPr algn="l">
              <a:defRPr sz="4175" b="1" cap="all" baseline="0">
                <a:solidFill>
                  <a:schemeClr val="bg1"/>
                </a:solidFill>
                <a:effectLst/>
                <a:latin typeface="+mj-lt"/>
              </a:defRPr>
            </a:lvl1pPr>
          </a:lstStyle>
          <a:p>
            <a:r>
              <a:rPr lang="en-US">
                <a:effectLst/>
              </a:rPr>
              <a:t>Click to edit Master title style</a:t>
            </a:r>
          </a:p>
        </p:txBody>
      </p:sp>
      <p:sp>
        <p:nvSpPr>
          <p:cNvPr id="3" name="Subtitle 2"/>
          <p:cNvSpPr>
            <a:spLocks noGrp="1"/>
          </p:cNvSpPr>
          <p:nvPr>
            <p:ph type="subTitle" idx="1"/>
          </p:nvPr>
        </p:nvSpPr>
        <p:spPr>
          <a:xfrm>
            <a:off x="390675" y="5029370"/>
            <a:ext cx="3708499" cy="529588"/>
          </a:xfrm>
          <a:prstGeom prst="rect">
            <a:avLst/>
          </a:prstGeom>
          <a:effectLst/>
        </p:spPr>
        <p:txBody>
          <a:bodyPr lIns="45720" rIns="45720" anchor="t">
            <a:normAutofit/>
          </a:bodyPr>
          <a:lstStyle>
            <a:lvl1pPr marL="0" indent="0" algn="l">
              <a:buNone/>
              <a:defRPr sz="1899" cap="all" baseline="0">
                <a:solidFill>
                  <a:schemeClr val="bg1"/>
                </a:solidFill>
                <a:effectLst/>
                <a:latin typeface="+mn-lt"/>
              </a:defRPr>
            </a:lvl1pPr>
            <a:lvl2pPr marL="465754" indent="0" algn="ctr">
              <a:buNone/>
              <a:defRPr>
                <a:solidFill>
                  <a:schemeClr val="tx1">
                    <a:tint val="75000"/>
                  </a:schemeClr>
                </a:solidFill>
                <a:effectLst/>
              </a:defRPr>
            </a:lvl2pPr>
            <a:lvl3pPr marL="931507" indent="0" algn="ctr">
              <a:buNone/>
              <a:defRPr>
                <a:solidFill>
                  <a:schemeClr val="tx1">
                    <a:tint val="75000"/>
                  </a:schemeClr>
                </a:solidFill>
                <a:effectLst/>
              </a:defRPr>
            </a:lvl3pPr>
            <a:lvl4pPr marL="1397261" indent="0" algn="ctr">
              <a:buNone/>
              <a:defRPr>
                <a:solidFill>
                  <a:schemeClr val="tx1">
                    <a:tint val="75000"/>
                  </a:schemeClr>
                </a:solidFill>
                <a:effectLst/>
              </a:defRPr>
            </a:lvl4pPr>
            <a:lvl5pPr marL="1863014" indent="0" algn="ctr">
              <a:buNone/>
              <a:defRPr>
                <a:solidFill>
                  <a:schemeClr val="tx1">
                    <a:tint val="75000"/>
                  </a:schemeClr>
                </a:solidFill>
                <a:effectLst/>
              </a:defRPr>
            </a:lvl5pPr>
            <a:lvl6pPr marL="2328768" indent="0" algn="ctr">
              <a:buNone/>
              <a:defRPr>
                <a:solidFill>
                  <a:schemeClr val="tx1">
                    <a:tint val="75000"/>
                  </a:schemeClr>
                </a:solidFill>
                <a:effectLst/>
              </a:defRPr>
            </a:lvl6pPr>
            <a:lvl7pPr marL="2794521" indent="0" algn="ctr">
              <a:buNone/>
              <a:defRPr>
                <a:solidFill>
                  <a:schemeClr val="tx1">
                    <a:tint val="75000"/>
                  </a:schemeClr>
                </a:solidFill>
                <a:effectLst/>
              </a:defRPr>
            </a:lvl7pPr>
            <a:lvl8pPr marL="3260277" indent="0" algn="ctr">
              <a:buNone/>
              <a:defRPr>
                <a:solidFill>
                  <a:schemeClr val="tx1">
                    <a:tint val="75000"/>
                  </a:schemeClr>
                </a:solidFill>
                <a:effectLst/>
              </a:defRPr>
            </a:lvl8pPr>
            <a:lvl9pPr marL="3726029" indent="0" algn="ctr">
              <a:buNone/>
              <a:defRPr>
                <a:solidFill>
                  <a:schemeClr val="tx1">
                    <a:tint val="75000"/>
                  </a:schemeClr>
                </a:solidFill>
                <a:effectLst/>
              </a:defRPr>
            </a:lvl9pPr>
          </a:lstStyle>
          <a:p>
            <a:r>
              <a:rPr lang="en-US">
                <a:effectLst/>
              </a:rPr>
              <a:t>Click to edit Master subtitle style</a:t>
            </a:r>
          </a:p>
        </p:txBody>
      </p:sp>
    </p:spTree>
    <p:extLst>
      <p:ext uri="{BB962C8B-B14F-4D97-AF65-F5344CB8AC3E}">
        <p14:creationId xmlns:p14="http://schemas.microsoft.com/office/powerpoint/2010/main" val="3513255139"/>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 Bright Red">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802A15F-C948-764C-B86C-5C904950A48C}"/>
              </a:ext>
            </a:extLst>
          </p:cNvPr>
          <p:cNvSpPr>
            <a:spLocks noGrp="1"/>
          </p:cNvSpPr>
          <p:nvPr userDrawn="1">
            <p:ph type="body" sz="quarter" idx="10"/>
          </p:nvPr>
        </p:nvSpPr>
        <p:spPr>
          <a:xfrm>
            <a:off x="767509" y="2079133"/>
            <a:ext cx="10656982" cy="1182734"/>
          </a:xfrm>
        </p:spPr>
        <p:txBody>
          <a:bodyPr>
            <a:normAutofit/>
          </a:bodyPr>
          <a:lstStyle>
            <a:lvl1pPr marL="0" indent="0" algn="ctr">
              <a:buNone/>
              <a:defRPr sz="5127" b="1">
                <a:solidFill>
                  <a:schemeClr val="bg1"/>
                </a:solidFill>
              </a:defRPr>
            </a:lvl1pPr>
          </a:lstStyle>
          <a:p>
            <a:pPr lvl="0"/>
            <a:r>
              <a:rPr lang="en-US"/>
              <a:t>Edit Master text styles</a:t>
            </a:r>
          </a:p>
        </p:txBody>
      </p:sp>
      <p:sp>
        <p:nvSpPr>
          <p:cNvPr id="6" name="Text Placeholder 3">
            <a:extLst>
              <a:ext uri="{FF2B5EF4-FFF2-40B4-BE49-F238E27FC236}">
                <a16:creationId xmlns:a16="http://schemas.microsoft.com/office/drawing/2014/main" id="{D05DE4B8-41A9-3147-9BFB-3C66B4CD6D89}"/>
              </a:ext>
            </a:extLst>
          </p:cNvPr>
          <p:cNvSpPr>
            <a:spLocks noGrp="1"/>
          </p:cNvSpPr>
          <p:nvPr userDrawn="1">
            <p:ph type="body" sz="quarter" idx="11"/>
          </p:nvPr>
        </p:nvSpPr>
        <p:spPr>
          <a:xfrm>
            <a:off x="767509" y="3261867"/>
            <a:ext cx="10656982" cy="1182734"/>
          </a:xfrm>
        </p:spPr>
        <p:txBody>
          <a:bodyPr>
            <a:normAutofit/>
          </a:bodyPr>
          <a:lstStyle>
            <a:lvl1pPr marL="0" indent="0" algn="ctr">
              <a:buNone/>
              <a:defRPr sz="3038" b="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94CEB44B-DDC5-8641-A07D-856C15F35C00}"/>
              </a:ext>
            </a:extLst>
          </p:cNvPr>
          <p:cNvGrpSpPr/>
          <p:nvPr userDrawn="1"/>
        </p:nvGrpSpPr>
        <p:grpSpPr>
          <a:xfrm>
            <a:off x="2895249" y="1031973"/>
            <a:ext cx="6400869" cy="4794057"/>
            <a:chOff x="3049434" y="1086914"/>
            <a:chExt cx="6741749" cy="5049296"/>
          </a:xfrm>
        </p:grpSpPr>
        <p:sp>
          <p:nvSpPr>
            <p:cNvPr id="8" name="Freeform 7">
              <a:extLst>
                <a:ext uri="{FF2B5EF4-FFF2-40B4-BE49-F238E27FC236}">
                  <a16:creationId xmlns:a16="http://schemas.microsoft.com/office/drawing/2014/main" id="{36AA2089-9E6C-7149-AF25-C7588686F223}"/>
                </a:ext>
              </a:extLst>
            </p:cNvPr>
            <p:cNvSpPr>
              <a:spLocks noChangeArrowheads="1"/>
            </p:cNvSpPr>
            <p:nvPr/>
          </p:nvSpPr>
          <p:spPr bwMode="auto">
            <a:xfrm>
              <a:off x="3693267" y="1937932"/>
              <a:ext cx="1157338" cy="3570041"/>
            </a:xfrm>
            <a:custGeom>
              <a:avLst/>
              <a:gdLst>
                <a:gd name="T0" fmla="*/ 2065 w 4583"/>
                <a:gd name="T1" fmla="*/ 14101 h 14132"/>
                <a:gd name="T2" fmla="*/ 1743 w 4583"/>
                <a:gd name="T3" fmla="*/ 13981 h 14132"/>
                <a:gd name="T4" fmla="*/ 1513 w 4583"/>
                <a:gd name="T5" fmla="*/ 13910 h 14132"/>
                <a:gd name="T6" fmla="*/ 1276 w 4583"/>
                <a:gd name="T7" fmla="*/ 13956 h 14132"/>
                <a:gd name="T8" fmla="*/ 784 w 4583"/>
                <a:gd name="T9" fmla="*/ 14036 h 14132"/>
                <a:gd name="T10" fmla="*/ 402 w 4583"/>
                <a:gd name="T11" fmla="*/ 13870 h 14132"/>
                <a:gd name="T12" fmla="*/ 166 w 4583"/>
                <a:gd name="T13" fmla="*/ 13453 h 14132"/>
                <a:gd name="T14" fmla="*/ 30 w 4583"/>
                <a:gd name="T15" fmla="*/ 12956 h 14132"/>
                <a:gd name="T16" fmla="*/ 0 w 4583"/>
                <a:gd name="T17" fmla="*/ 12378 h 14132"/>
                <a:gd name="T18" fmla="*/ 166 w 4583"/>
                <a:gd name="T19" fmla="*/ 7049 h 14132"/>
                <a:gd name="T20" fmla="*/ 60 w 4583"/>
                <a:gd name="T21" fmla="*/ 6762 h 14132"/>
                <a:gd name="T22" fmla="*/ 51 w 4583"/>
                <a:gd name="T23" fmla="*/ 6445 h 14132"/>
                <a:gd name="T24" fmla="*/ 256 w 4583"/>
                <a:gd name="T25" fmla="*/ 5793 h 14132"/>
                <a:gd name="T26" fmla="*/ 272 w 4583"/>
                <a:gd name="T27" fmla="*/ 5667 h 14132"/>
                <a:gd name="T28" fmla="*/ 116 w 4583"/>
                <a:gd name="T29" fmla="*/ 5396 h 14132"/>
                <a:gd name="T30" fmla="*/ 71 w 4583"/>
                <a:gd name="T31" fmla="*/ 4969 h 14132"/>
                <a:gd name="T32" fmla="*/ 116 w 4583"/>
                <a:gd name="T33" fmla="*/ 4522 h 14132"/>
                <a:gd name="T34" fmla="*/ 910 w 4583"/>
                <a:gd name="T35" fmla="*/ 2708 h 14132"/>
                <a:gd name="T36" fmla="*/ 1261 w 4583"/>
                <a:gd name="T37" fmla="*/ 2155 h 14132"/>
                <a:gd name="T38" fmla="*/ 1412 w 4583"/>
                <a:gd name="T39" fmla="*/ 1884 h 14132"/>
                <a:gd name="T40" fmla="*/ 1467 w 4583"/>
                <a:gd name="T41" fmla="*/ 1568 h 14132"/>
                <a:gd name="T42" fmla="*/ 1492 w 4583"/>
                <a:gd name="T43" fmla="*/ 1065 h 14132"/>
                <a:gd name="T44" fmla="*/ 1452 w 4583"/>
                <a:gd name="T45" fmla="*/ 879 h 14132"/>
                <a:gd name="T46" fmla="*/ 1367 w 4583"/>
                <a:gd name="T47" fmla="*/ 699 h 14132"/>
                <a:gd name="T48" fmla="*/ 1382 w 4583"/>
                <a:gd name="T49" fmla="*/ 302 h 14132"/>
                <a:gd name="T50" fmla="*/ 1447 w 4583"/>
                <a:gd name="T51" fmla="*/ 146 h 14132"/>
                <a:gd name="T52" fmla="*/ 1558 w 4583"/>
                <a:gd name="T53" fmla="*/ 81 h 14132"/>
                <a:gd name="T54" fmla="*/ 2291 w 4583"/>
                <a:gd name="T55" fmla="*/ 0 h 14132"/>
                <a:gd name="T56" fmla="*/ 3025 w 4583"/>
                <a:gd name="T57" fmla="*/ 81 h 14132"/>
                <a:gd name="T58" fmla="*/ 3115 w 4583"/>
                <a:gd name="T59" fmla="*/ 131 h 14132"/>
                <a:gd name="T60" fmla="*/ 3175 w 4583"/>
                <a:gd name="T61" fmla="*/ 216 h 14132"/>
                <a:gd name="T62" fmla="*/ 3226 w 4583"/>
                <a:gd name="T63" fmla="*/ 623 h 14132"/>
                <a:gd name="T64" fmla="*/ 3150 w 4583"/>
                <a:gd name="T65" fmla="*/ 859 h 14132"/>
                <a:gd name="T66" fmla="*/ 3095 w 4583"/>
                <a:gd name="T67" fmla="*/ 1000 h 14132"/>
                <a:gd name="T68" fmla="*/ 3110 w 4583"/>
                <a:gd name="T69" fmla="*/ 1537 h 14132"/>
                <a:gd name="T70" fmla="*/ 3150 w 4583"/>
                <a:gd name="T71" fmla="*/ 1809 h 14132"/>
                <a:gd name="T72" fmla="*/ 3321 w 4583"/>
                <a:gd name="T73" fmla="*/ 2155 h 14132"/>
                <a:gd name="T74" fmla="*/ 3602 w 4583"/>
                <a:gd name="T75" fmla="*/ 2577 h 14132"/>
                <a:gd name="T76" fmla="*/ 4175 w 4583"/>
                <a:gd name="T77" fmla="*/ 3808 h 14132"/>
                <a:gd name="T78" fmla="*/ 4512 w 4583"/>
                <a:gd name="T79" fmla="*/ 4858 h 14132"/>
                <a:gd name="T80" fmla="*/ 4467 w 4583"/>
                <a:gd name="T81" fmla="*/ 5396 h 14132"/>
                <a:gd name="T82" fmla="*/ 4316 w 4583"/>
                <a:gd name="T83" fmla="*/ 5637 h 14132"/>
                <a:gd name="T84" fmla="*/ 4326 w 4583"/>
                <a:gd name="T85" fmla="*/ 5793 h 14132"/>
                <a:gd name="T86" fmla="*/ 4522 w 4583"/>
                <a:gd name="T87" fmla="*/ 6375 h 14132"/>
                <a:gd name="T88" fmla="*/ 4532 w 4583"/>
                <a:gd name="T89" fmla="*/ 6702 h 14132"/>
                <a:gd name="T90" fmla="*/ 4446 w 4583"/>
                <a:gd name="T91" fmla="*/ 6993 h 14132"/>
                <a:gd name="T92" fmla="*/ 4582 w 4583"/>
                <a:gd name="T93" fmla="*/ 12378 h 14132"/>
                <a:gd name="T94" fmla="*/ 4567 w 4583"/>
                <a:gd name="T95" fmla="*/ 12845 h 14132"/>
                <a:gd name="T96" fmla="*/ 4451 w 4583"/>
                <a:gd name="T97" fmla="*/ 13358 h 14132"/>
                <a:gd name="T98" fmla="*/ 4235 w 4583"/>
                <a:gd name="T99" fmla="*/ 13790 h 14132"/>
                <a:gd name="T100" fmla="*/ 3904 w 4583"/>
                <a:gd name="T101" fmla="*/ 14015 h 14132"/>
                <a:gd name="T102" fmla="*/ 3401 w 4583"/>
                <a:gd name="T103" fmla="*/ 13996 h 14132"/>
                <a:gd name="T104" fmla="*/ 3130 w 4583"/>
                <a:gd name="T105" fmla="*/ 13910 h 14132"/>
                <a:gd name="T106" fmla="*/ 2838 w 4583"/>
                <a:gd name="T107" fmla="*/ 13981 h 14132"/>
                <a:gd name="T108" fmla="*/ 2587 w 4583"/>
                <a:gd name="T109" fmla="*/ 14086 h 1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83" h="14132">
                  <a:moveTo>
                    <a:pt x="2291" y="14131"/>
                  </a:moveTo>
                  <a:lnTo>
                    <a:pt x="2291" y="14131"/>
                  </a:lnTo>
                  <a:lnTo>
                    <a:pt x="2216" y="14127"/>
                  </a:lnTo>
                  <a:lnTo>
                    <a:pt x="2140" y="14116"/>
                  </a:lnTo>
                  <a:lnTo>
                    <a:pt x="2065" y="14101"/>
                  </a:lnTo>
                  <a:lnTo>
                    <a:pt x="1994" y="14086"/>
                  </a:lnTo>
                  <a:lnTo>
                    <a:pt x="1930" y="14066"/>
                  </a:lnTo>
                  <a:lnTo>
                    <a:pt x="1864" y="14041"/>
                  </a:lnTo>
                  <a:lnTo>
                    <a:pt x="1799" y="14011"/>
                  </a:lnTo>
                  <a:lnTo>
                    <a:pt x="1743" y="13981"/>
                  </a:lnTo>
                  <a:lnTo>
                    <a:pt x="1743" y="13981"/>
                  </a:lnTo>
                  <a:lnTo>
                    <a:pt x="1688" y="13951"/>
                  </a:lnTo>
                  <a:lnTo>
                    <a:pt x="1633" y="13931"/>
                  </a:lnTo>
                  <a:lnTo>
                    <a:pt x="1572" y="13915"/>
                  </a:lnTo>
                  <a:lnTo>
                    <a:pt x="1513" y="13910"/>
                  </a:lnTo>
                  <a:lnTo>
                    <a:pt x="1452" y="13910"/>
                  </a:lnTo>
                  <a:lnTo>
                    <a:pt x="1392" y="13920"/>
                  </a:lnTo>
                  <a:lnTo>
                    <a:pt x="1332" y="13935"/>
                  </a:lnTo>
                  <a:lnTo>
                    <a:pt x="1276" y="13956"/>
                  </a:lnTo>
                  <a:lnTo>
                    <a:pt x="1276" y="13956"/>
                  </a:lnTo>
                  <a:lnTo>
                    <a:pt x="1181" y="13996"/>
                  </a:lnTo>
                  <a:lnTo>
                    <a:pt x="1086" y="14026"/>
                  </a:lnTo>
                  <a:lnTo>
                    <a:pt x="985" y="14041"/>
                  </a:lnTo>
                  <a:lnTo>
                    <a:pt x="884" y="14046"/>
                  </a:lnTo>
                  <a:lnTo>
                    <a:pt x="784" y="14036"/>
                  </a:lnTo>
                  <a:lnTo>
                    <a:pt x="678" y="14015"/>
                  </a:lnTo>
                  <a:lnTo>
                    <a:pt x="568" y="13986"/>
                  </a:lnTo>
                  <a:lnTo>
                    <a:pt x="462" y="13940"/>
                  </a:lnTo>
                  <a:lnTo>
                    <a:pt x="462" y="13940"/>
                  </a:lnTo>
                  <a:lnTo>
                    <a:pt x="402" y="13870"/>
                  </a:lnTo>
                  <a:lnTo>
                    <a:pt x="347" y="13790"/>
                  </a:lnTo>
                  <a:lnTo>
                    <a:pt x="297" y="13709"/>
                  </a:lnTo>
                  <a:lnTo>
                    <a:pt x="247" y="13629"/>
                  </a:lnTo>
                  <a:lnTo>
                    <a:pt x="206" y="13543"/>
                  </a:lnTo>
                  <a:lnTo>
                    <a:pt x="166" y="13453"/>
                  </a:lnTo>
                  <a:lnTo>
                    <a:pt x="131" y="13358"/>
                  </a:lnTo>
                  <a:lnTo>
                    <a:pt x="101" y="13262"/>
                  </a:lnTo>
                  <a:lnTo>
                    <a:pt x="71" y="13162"/>
                  </a:lnTo>
                  <a:lnTo>
                    <a:pt x="51" y="13061"/>
                  </a:lnTo>
                  <a:lnTo>
                    <a:pt x="30" y="12956"/>
                  </a:lnTo>
                  <a:lnTo>
                    <a:pt x="15" y="12845"/>
                  </a:lnTo>
                  <a:lnTo>
                    <a:pt x="5" y="12735"/>
                  </a:lnTo>
                  <a:lnTo>
                    <a:pt x="0" y="12619"/>
                  </a:lnTo>
                  <a:lnTo>
                    <a:pt x="0" y="12498"/>
                  </a:lnTo>
                  <a:lnTo>
                    <a:pt x="0" y="12378"/>
                  </a:lnTo>
                  <a:lnTo>
                    <a:pt x="231" y="11805"/>
                  </a:lnTo>
                  <a:lnTo>
                    <a:pt x="231" y="7153"/>
                  </a:lnTo>
                  <a:lnTo>
                    <a:pt x="231" y="7153"/>
                  </a:lnTo>
                  <a:lnTo>
                    <a:pt x="196" y="7099"/>
                  </a:lnTo>
                  <a:lnTo>
                    <a:pt x="166" y="7049"/>
                  </a:lnTo>
                  <a:lnTo>
                    <a:pt x="141" y="6993"/>
                  </a:lnTo>
                  <a:lnTo>
                    <a:pt x="116" y="6938"/>
                  </a:lnTo>
                  <a:lnTo>
                    <a:pt x="96" y="6883"/>
                  </a:lnTo>
                  <a:lnTo>
                    <a:pt x="76" y="6822"/>
                  </a:lnTo>
                  <a:lnTo>
                    <a:pt x="60" y="6762"/>
                  </a:lnTo>
                  <a:lnTo>
                    <a:pt x="55" y="6702"/>
                  </a:lnTo>
                  <a:lnTo>
                    <a:pt x="46" y="6641"/>
                  </a:lnTo>
                  <a:lnTo>
                    <a:pt x="46" y="6576"/>
                  </a:lnTo>
                  <a:lnTo>
                    <a:pt x="46" y="6511"/>
                  </a:lnTo>
                  <a:lnTo>
                    <a:pt x="51" y="6445"/>
                  </a:lnTo>
                  <a:lnTo>
                    <a:pt x="60" y="6375"/>
                  </a:lnTo>
                  <a:lnTo>
                    <a:pt x="76" y="6305"/>
                  </a:lnTo>
                  <a:lnTo>
                    <a:pt x="96" y="6235"/>
                  </a:lnTo>
                  <a:lnTo>
                    <a:pt x="116" y="6160"/>
                  </a:lnTo>
                  <a:lnTo>
                    <a:pt x="256" y="5793"/>
                  </a:lnTo>
                  <a:lnTo>
                    <a:pt x="256" y="5793"/>
                  </a:lnTo>
                  <a:lnTo>
                    <a:pt x="267" y="5763"/>
                  </a:lnTo>
                  <a:lnTo>
                    <a:pt x="272" y="5732"/>
                  </a:lnTo>
                  <a:lnTo>
                    <a:pt x="277" y="5702"/>
                  </a:lnTo>
                  <a:lnTo>
                    <a:pt x="272" y="5667"/>
                  </a:lnTo>
                  <a:lnTo>
                    <a:pt x="267" y="5637"/>
                  </a:lnTo>
                  <a:lnTo>
                    <a:pt x="256" y="5607"/>
                  </a:lnTo>
                  <a:lnTo>
                    <a:pt x="247" y="5576"/>
                  </a:lnTo>
                  <a:lnTo>
                    <a:pt x="226" y="5551"/>
                  </a:lnTo>
                  <a:lnTo>
                    <a:pt x="116" y="5396"/>
                  </a:lnTo>
                  <a:lnTo>
                    <a:pt x="116" y="5396"/>
                  </a:lnTo>
                  <a:lnTo>
                    <a:pt x="96" y="5290"/>
                  </a:lnTo>
                  <a:lnTo>
                    <a:pt x="80" y="5185"/>
                  </a:lnTo>
                  <a:lnTo>
                    <a:pt x="71" y="5079"/>
                  </a:lnTo>
                  <a:lnTo>
                    <a:pt x="71" y="4969"/>
                  </a:lnTo>
                  <a:lnTo>
                    <a:pt x="71" y="4858"/>
                  </a:lnTo>
                  <a:lnTo>
                    <a:pt x="80" y="4748"/>
                  </a:lnTo>
                  <a:lnTo>
                    <a:pt x="96" y="4632"/>
                  </a:lnTo>
                  <a:lnTo>
                    <a:pt x="116" y="4522"/>
                  </a:lnTo>
                  <a:lnTo>
                    <a:pt x="116" y="4522"/>
                  </a:lnTo>
                  <a:lnTo>
                    <a:pt x="407" y="3808"/>
                  </a:lnTo>
                  <a:lnTo>
                    <a:pt x="553" y="3466"/>
                  </a:lnTo>
                  <a:lnTo>
                    <a:pt x="694" y="3145"/>
                  </a:lnTo>
                  <a:lnTo>
                    <a:pt x="840" y="2848"/>
                  </a:lnTo>
                  <a:lnTo>
                    <a:pt x="910" y="2708"/>
                  </a:lnTo>
                  <a:lnTo>
                    <a:pt x="980" y="2577"/>
                  </a:lnTo>
                  <a:lnTo>
                    <a:pt x="1050" y="2457"/>
                  </a:lnTo>
                  <a:lnTo>
                    <a:pt x="1121" y="2346"/>
                  </a:lnTo>
                  <a:lnTo>
                    <a:pt x="1191" y="2246"/>
                  </a:lnTo>
                  <a:lnTo>
                    <a:pt x="1261" y="2155"/>
                  </a:lnTo>
                  <a:lnTo>
                    <a:pt x="1261" y="2155"/>
                  </a:lnTo>
                  <a:lnTo>
                    <a:pt x="1312" y="2090"/>
                  </a:lnTo>
                  <a:lnTo>
                    <a:pt x="1351" y="2025"/>
                  </a:lnTo>
                  <a:lnTo>
                    <a:pt x="1382" y="1954"/>
                  </a:lnTo>
                  <a:lnTo>
                    <a:pt x="1412" y="1884"/>
                  </a:lnTo>
                  <a:lnTo>
                    <a:pt x="1432" y="1809"/>
                  </a:lnTo>
                  <a:lnTo>
                    <a:pt x="1452" y="1733"/>
                  </a:lnTo>
                  <a:lnTo>
                    <a:pt x="1462" y="1653"/>
                  </a:lnTo>
                  <a:lnTo>
                    <a:pt x="1467" y="1568"/>
                  </a:lnTo>
                  <a:lnTo>
                    <a:pt x="1467" y="1568"/>
                  </a:lnTo>
                  <a:lnTo>
                    <a:pt x="1472" y="1537"/>
                  </a:lnTo>
                  <a:lnTo>
                    <a:pt x="1477" y="1472"/>
                  </a:lnTo>
                  <a:lnTo>
                    <a:pt x="1482" y="1301"/>
                  </a:lnTo>
                  <a:lnTo>
                    <a:pt x="1492" y="1065"/>
                  </a:lnTo>
                  <a:lnTo>
                    <a:pt x="1492" y="1065"/>
                  </a:lnTo>
                  <a:lnTo>
                    <a:pt x="1487" y="1000"/>
                  </a:lnTo>
                  <a:lnTo>
                    <a:pt x="1487" y="965"/>
                  </a:lnTo>
                  <a:lnTo>
                    <a:pt x="1477" y="934"/>
                  </a:lnTo>
                  <a:lnTo>
                    <a:pt x="1467" y="904"/>
                  </a:lnTo>
                  <a:lnTo>
                    <a:pt x="1452" y="879"/>
                  </a:lnTo>
                  <a:lnTo>
                    <a:pt x="1432" y="859"/>
                  </a:lnTo>
                  <a:lnTo>
                    <a:pt x="1407" y="839"/>
                  </a:lnTo>
                  <a:lnTo>
                    <a:pt x="1407" y="839"/>
                  </a:lnTo>
                  <a:lnTo>
                    <a:pt x="1382" y="769"/>
                  </a:lnTo>
                  <a:lnTo>
                    <a:pt x="1367" y="699"/>
                  </a:lnTo>
                  <a:lnTo>
                    <a:pt x="1357" y="623"/>
                  </a:lnTo>
                  <a:lnTo>
                    <a:pt x="1351" y="548"/>
                  </a:lnTo>
                  <a:lnTo>
                    <a:pt x="1351" y="467"/>
                  </a:lnTo>
                  <a:lnTo>
                    <a:pt x="1367" y="387"/>
                  </a:lnTo>
                  <a:lnTo>
                    <a:pt x="1382" y="302"/>
                  </a:lnTo>
                  <a:lnTo>
                    <a:pt x="1407" y="216"/>
                  </a:lnTo>
                  <a:lnTo>
                    <a:pt x="1407" y="216"/>
                  </a:lnTo>
                  <a:lnTo>
                    <a:pt x="1417" y="191"/>
                  </a:lnTo>
                  <a:lnTo>
                    <a:pt x="1432" y="171"/>
                  </a:lnTo>
                  <a:lnTo>
                    <a:pt x="1447" y="146"/>
                  </a:lnTo>
                  <a:lnTo>
                    <a:pt x="1467" y="131"/>
                  </a:lnTo>
                  <a:lnTo>
                    <a:pt x="1487" y="110"/>
                  </a:lnTo>
                  <a:lnTo>
                    <a:pt x="1508" y="101"/>
                  </a:lnTo>
                  <a:lnTo>
                    <a:pt x="1533" y="90"/>
                  </a:lnTo>
                  <a:lnTo>
                    <a:pt x="1558" y="81"/>
                  </a:lnTo>
                  <a:lnTo>
                    <a:pt x="1558" y="81"/>
                  </a:lnTo>
                  <a:lnTo>
                    <a:pt x="1723" y="55"/>
                  </a:lnTo>
                  <a:lnTo>
                    <a:pt x="1894" y="30"/>
                  </a:lnTo>
                  <a:lnTo>
                    <a:pt x="2085" y="15"/>
                  </a:lnTo>
                  <a:lnTo>
                    <a:pt x="2291" y="0"/>
                  </a:lnTo>
                  <a:lnTo>
                    <a:pt x="2291" y="0"/>
                  </a:lnTo>
                  <a:lnTo>
                    <a:pt x="2497" y="15"/>
                  </a:lnTo>
                  <a:lnTo>
                    <a:pt x="2688" y="30"/>
                  </a:lnTo>
                  <a:lnTo>
                    <a:pt x="2859" y="55"/>
                  </a:lnTo>
                  <a:lnTo>
                    <a:pt x="3025" y="81"/>
                  </a:lnTo>
                  <a:lnTo>
                    <a:pt x="3025" y="81"/>
                  </a:lnTo>
                  <a:lnTo>
                    <a:pt x="3050" y="90"/>
                  </a:lnTo>
                  <a:lnTo>
                    <a:pt x="3075" y="101"/>
                  </a:lnTo>
                  <a:lnTo>
                    <a:pt x="3095" y="110"/>
                  </a:lnTo>
                  <a:lnTo>
                    <a:pt x="3115" y="131"/>
                  </a:lnTo>
                  <a:lnTo>
                    <a:pt x="3135" y="146"/>
                  </a:lnTo>
                  <a:lnTo>
                    <a:pt x="3150" y="171"/>
                  </a:lnTo>
                  <a:lnTo>
                    <a:pt x="3165" y="191"/>
                  </a:lnTo>
                  <a:lnTo>
                    <a:pt x="3175" y="216"/>
                  </a:lnTo>
                  <a:lnTo>
                    <a:pt x="3175" y="216"/>
                  </a:lnTo>
                  <a:lnTo>
                    <a:pt x="3201" y="302"/>
                  </a:lnTo>
                  <a:lnTo>
                    <a:pt x="3221" y="387"/>
                  </a:lnTo>
                  <a:lnTo>
                    <a:pt x="3230" y="467"/>
                  </a:lnTo>
                  <a:lnTo>
                    <a:pt x="3230" y="548"/>
                  </a:lnTo>
                  <a:lnTo>
                    <a:pt x="3226" y="623"/>
                  </a:lnTo>
                  <a:lnTo>
                    <a:pt x="3215" y="699"/>
                  </a:lnTo>
                  <a:lnTo>
                    <a:pt x="3201" y="769"/>
                  </a:lnTo>
                  <a:lnTo>
                    <a:pt x="3175" y="839"/>
                  </a:lnTo>
                  <a:lnTo>
                    <a:pt x="3175" y="839"/>
                  </a:lnTo>
                  <a:lnTo>
                    <a:pt x="3150" y="859"/>
                  </a:lnTo>
                  <a:lnTo>
                    <a:pt x="3130" y="879"/>
                  </a:lnTo>
                  <a:lnTo>
                    <a:pt x="3115" y="904"/>
                  </a:lnTo>
                  <a:lnTo>
                    <a:pt x="3105" y="934"/>
                  </a:lnTo>
                  <a:lnTo>
                    <a:pt x="3095" y="965"/>
                  </a:lnTo>
                  <a:lnTo>
                    <a:pt x="3095" y="1000"/>
                  </a:lnTo>
                  <a:lnTo>
                    <a:pt x="3095" y="1065"/>
                  </a:lnTo>
                  <a:lnTo>
                    <a:pt x="3095" y="1065"/>
                  </a:lnTo>
                  <a:lnTo>
                    <a:pt x="3100" y="1301"/>
                  </a:lnTo>
                  <a:lnTo>
                    <a:pt x="3105" y="1472"/>
                  </a:lnTo>
                  <a:lnTo>
                    <a:pt x="3110" y="1537"/>
                  </a:lnTo>
                  <a:lnTo>
                    <a:pt x="3115" y="1568"/>
                  </a:lnTo>
                  <a:lnTo>
                    <a:pt x="3115" y="1568"/>
                  </a:lnTo>
                  <a:lnTo>
                    <a:pt x="3120" y="1653"/>
                  </a:lnTo>
                  <a:lnTo>
                    <a:pt x="3130" y="1733"/>
                  </a:lnTo>
                  <a:lnTo>
                    <a:pt x="3150" y="1809"/>
                  </a:lnTo>
                  <a:lnTo>
                    <a:pt x="3170" y="1884"/>
                  </a:lnTo>
                  <a:lnTo>
                    <a:pt x="3201" y="1954"/>
                  </a:lnTo>
                  <a:lnTo>
                    <a:pt x="3230" y="2025"/>
                  </a:lnTo>
                  <a:lnTo>
                    <a:pt x="3276" y="2090"/>
                  </a:lnTo>
                  <a:lnTo>
                    <a:pt x="3321" y="2155"/>
                  </a:lnTo>
                  <a:lnTo>
                    <a:pt x="3321" y="2155"/>
                  </a:lnTo>
                  <a:lnTo>
                    <a:pt x="3391" y="2246"/>
                  </a:lnTo>
                  <a:lnTo>
                    <a:pt x="3461" y="2346"/>
                  </a:lnTo>
                  <a:lnTo>
                    <a:pt x="3532" y="2457"/>
                  </a:lnTo>
                  <a:lnTo>
                    <a:pt x="3602" y="2577"/>
                  </a:lnTo>
                  <a:lnTo>
                    <a:pt x="3673" y="2708"/>
                  </a:lnTo>
                  <a:lnTo>
                    <a:pt x="3743" y="2848"/>
                  </a:lnTo>
                  <a:lnTo>
                    <a:pt x="3889" y="3145"/>
                  </a:lnTo>
                  <a:lnTo>
                    <a:pt x="4029" y="3466"/>
                  </a:lnTo>
                  <a:lnTo>
                    <a:pt x="4175" y="3808"/>
                  </a:lnTo>
                  <a:lnTo>
                    <a:pt x="4467" y="4522"/>
                  </a:lnTo>
                  <a:lnTo>
                    <a:pt x="4467" y="4522"/>
                  </a:lnTo>
                  <a:lnTo>
                    <a:pt x="4487" y="4632"/>
                  </a:lnTo>
                  <a:lnTo>
                    <a:pt x="4501" y="4748"/>
                  </a:lnTo>
                  <a:lnTo>
                    <a:pt x="4512" y="4858"/>
                  </a:lnTo>
                  <a:lnTo>
                    <a:pt x="4512" y="4969"/>
                  </a:lnTo>
                  <a:lnTo>
                    <a:pt x="4512" y="5079"/>
                  </a:lnTo>
                  <a:lnTo>
                    <a:pt x="4501" y="5185"/>
                  </a:lnTo>
                  <a:lnTo>
                    <a:pt x="4487" y="5290"/>
                  </a:lnTo>
                  <a:lnTo>
                    <a:pt x="4467" y="5396"/>
                  </a:lnTo>
                  <a:lnTo>
                    <a:pt x="4356" y="5551"/>
                  </a:lnTo>
                  <a:lnTo>
                    <a:pt x="4356" y="5551"/>
                  </a:lnTo>
                  <a:lnTo>
                    <a:pt x="4341" y="5576"/>
                  </a:lnTo>
                  <a:lnTo>
                    <a:pt x="4326" y="5607"/>
                  </a:lnTo>
                  <a:lnTo>
                    <a:pt x="4316" y="5637"/>
                  </a:lnTo>
                  <a:lnTo>
                    <a:pt x="4311" y="5667"/>
                  </a:lnTo>
                  <a:lnTo>
                    <a:pt x="4305" y="5702"/>
                  </a:lnTo>
                  <a:lnTo>
                    <a:pt x="4311" y="5732"/>
                  </a:lnTo>
                  <a:lnTo>
                    <a:pt x="4316" y="5763"/>
                  </a:lnTo>
                  <a:lnTo>
                    <a:pt x="4326" y="5793"/>
                  </a:lnTo>
                  <a:lnTo>
                    <a:pt x="4467" y="6160"/>
                  </a:lnTo>
                  <a:lnTo>
                    <a:pt x="4467" y="6160"/>
                  </a:lnTo>
                  <a:lnTo>
                    <a:pt x="4487" y="6235"/>
                  </a:lnTo>
                  <a:lnTo>
                    <a:pt x="4506" y="6305"/>
                  </a:lnTo>
                  <a:lnTo>
                    <a:pt x="4522" y="6375"/>
                  </a:lnTo>
                  <a:lnTo>
                    <a:pt x="4532" y="6445"/>
                  </a:lnTo>
                  <a:lnTo>
                    <a:pt x="4537" y="6511"/>
                  </a:lnTo>
                  <a:lnTo>
                    <a:pt x="4537" y="6576"/>
                  </a:lnTo>
                  <a:lnTo>
                    <a:pt x="4537" y="6641"/>
                  </a:lnTo>
                  <a:lnTo>
                    <a:pt x="4532" y="6702"/>
                  </a:lnTo>
                  <a:lnTo>
                    <a:pt x="4522" y="6762"/>
                  </a:lnTo>
                  <a:lnTo>
                    <a:pt x="4506" y="6822"/>
                  </a:lnTo>
                  <a:lnTo>
                    <a:pt x="4487" y="6883"/>
                  </a:lnTo>
                  <a:lnTo>
                    <a:pt x="4467" y="6938"/>
                  </a:lnTo>
                  <a:lnTo>
                    <a:pt x="4446" y="6993"/>
                  </a:lnTo>
                  <a:lnTo>
                    <a:pt x="4416" y="7049"/>
                  </a:lnTo>
                  <a:lnTo>
                    <a:pt x="4386" y="7099"/>
                  </a:lnTo>
                  <a:lnTo>
                    <a:pt x="4351" y="7153"/>
                  </a:lnTo>
                  <a:lnTo>
                    <a:pt x="4351" y="11805"/>
                  </a:lnTo>
                  <a:lnTo>
                    <a:pt x="4582" y="12378"/>
                  </a:lnTo>
                  <a:lnTo>
                    <a:pt x="4582" y="12378"/>
                  </a:lnTo>
                  <a:lnTo>
                    <a:pt x="4582" y="12498"/>
                  </a:lnTo>
                  <a:lnTo>
                    <a:pt x="4582" y="12619"/>
                  </a:lnTo>
                  <a:lnTo>
                    <a:pt x="4577" y="12735"/>
                  </a:lnTo>
                  <a:lnTo>
                    <a:pt x="4567" y="12845"/>
                  </a:lnTo>
                  <a:lnTo>
                    <a:pt x="4552" y="12956"/>
                  </a:lnTo>
                  <a:lnTo>
                    <a:pt x="4532" y="13061"/>
                  </a:lnTo>
                  <a:lnTo>
                    <a:pt x="4512" y="13162"/>
                  </a:lnTo>
                  <a:lnTo>
                    <a:pt x="4481" y="13262"/>
                  </a:lnTo>
                  <a:lnTo>
                    <a:pt x="4451" y="13358"/>
                  </a:lnTo>
                  <a:lnTo>
                    <a:pt x="4416" y="13453"/>
                  </a:lnTo>
                  <a:lnTo>
                    <a:pt x="4376" y="13543"/>
                  </a:lnTo>
                  <a:lnTo>
                    <a:pt x="4336" y="13629"/>
                  </a:lnTo>
                  <a:lnTo>
                    <a:pt x="4291" y="13709"/>
                  </a:lnTo>
                  <a:lnTo>
                    <a:pt x="4235" y="13790"/>
                  </a:lnTo>
                  <a:lnTo>
                    <a:pt x="4180" y="13870"/>
                  </a:lnTo>
                  <a:lnTo>
                    <a:pt x="4125" y="13940"/>
                  </a:lnTo>
                  <a:lnTo>
                    <a:pt x="4125" y="13940"/>
                  </a:lnTo>
                  <a:lnTo>
                    <a:pt x="4014" y="13986"/>
                  </a:lnTo>
                  <a:lnTo>
                    <a:pt x="3904" y="14015"/>
                  </a:lnTo>
                  <a:lnTo>
                    <a:pt x="3798" y="14036"/>
                  </a:lnTo>
                  <a:lnTo>
                    <a:pt x="3698" y="14046"/>
                  </a:lnTo>
                  <a:lnTo>
                    <a:pt x="3597" y="14041"/>
                  </a:lnTo>
                  <a:lnTo>
                    <a:pt x="3497" y="14026"/>
                  </a:lnTo>
                  <a:lnTo>
                    <a:pt x="3401" y="13996"/>
                  </a:lnTo>
                  <a:lnTo>
                    <a:pt x="3306" y="13956"/>
                  </a:lnTo>
                  <a:lnTo>
                    <a:pt x="3306" y="13956"/>
                  </a:lnTo>
                  <a:lnTo>
                    <a:pt x="3251" y="13935"/>
                  </a:lnTo>
                  <a:lnTo>
                    <a:pt x="3190" y="13920"/>
                  </a:lnTo>
                  <a:lnTo>
                    <a:pt x="3130" y="13910"/>
                  </a:lnTo>
                  <a:lnTo>
                    <a:pt x="3070" y="13910"/>
                  </a:lnTo>
                  <a:lnTo>
                    <a:pt x="3009" y="13915"/>
                  </a:lnTo>
                  <a:lnTo>
                    <a:pt x="2954" y="13931"/>
                  </a:lnTo>
                  <a:lnTo>
                    <a:pt x="2894" y="13951"/>
                  </a:lnTo>
                  <a:lnTo>
                    <a:pt x="2838" y="13981"/>
                  </a:lnTo>
                  <a:lnTo>
                    <a:pt x="2838" y="13981"/>
                  </a:lnTo>
                  <a:lnTo>
                    <a:pt x="2783" y="14011"/>
                  </a:lnTo>
                  <a:lnTo>
                    <a:pt x="2718" y="14041"/>
                  </a:lnTo>
                  <a:lnTo>
                    <a:pt x="2653" y="14066"/>
                  </a:lnTo>
                  <a:lnTo>
                    <a:pt x="2587" y="14086"/>
                  </a:lnTo>
                  <a:lnTo>
                    <a:pt x="2517" y="14101"/>
                  </a:lnTo>
                  <a:lnTo>
                    <a:pt x="2442" y="14116"/>
                  </a:lnTo>
                  <a:lnTo>
                    <a:pt x="2366" y="14127"/>
                  </a:lnTo>
                  <a:lnTo>
                    <a:pt x="2291" y="14131"/>
                  </a:lnTo>
                </a:path>
              </a:pathLst>
            </a:custGeom>
            <a:noFill/>
            <a:ln w="12700">
              <a:solidFill>
                <a:schemeClr val="bg1">
                  <a:alpha val="30000"/>
                </a:schemeClr>
              </a:solidFill>
            </a:ln>
            <a:effectLst/>
          </p:spPr>
          <p:txBody>
            <a:bodyPr wrap="none" anchor="ctr"/>
            <a:lstStyle/>
            <a:p>
              <a:endParaRPr lang="en-US" sz="1709"/>
            </a:p>
          </p:txBody>
        </p:sp>
        <p:sp>
          <p:nvSpPr>
            <p:cNvPr id="9" name="Freeform 8">
              <a:extLst>
                <a:ext uri="{FF2B5EF4-FFF2-40B4-BE49-F238E27FC236}">
                  <a16:creationId xmlns:a16="http://schemas.microsoft.com/office/drawing/2014/main" id="{B6AB1E3A-EE4F-1744-8651-378A4A59ED36}"/>
                </a:ext>
              </a:extLst>
            </p:cNvPr>
            <p:cNvSpPr>
              <a:spLocks noChangeArrowheads="1"/>
            </p:cNvSpPr>
            <p:nvPr/>
          </p:nvSpPr>
          <p:spPr bwMode="auto">
            <a:xfrm>
              <a:off x="4351579" y="1604875"/>
              <a:ext cx="1137289" cy="4054585"/>
            </a:xfrm>
            <a:custGeom>
              <a:avLst/>
              <a:gdLst>
                <a:gd name="T0" fmla="*/ 1753 w 4502"/>
                <a:gd name="T1" fmla="*/ 15970 h 16051"/>
                <a:gd name="T2" fmla="*/ 1291 w 4502"/>
                <a:gd name="T3" fmla="*/ 15734 h 16051"/>
                <a:gd name="T4" fmla="*/ 1009 w 4502"/>
                <a:gd name="T5" fmla="*/ 15754 h 16051"/>
                <a:gd name="T6" fmla="*/ 803 w 4502"/>
                <a:gd name="T7" fmla="*/ 15899 h 16051"/>
                <a:gd name="T8" fmla="*/ 593 w 4502"/>
                <a:gd name="T9" fmla="*/ 15924 h 16051"/>
                <a:gd name="T10" fmla="*/ 406 w 4502"/>
                <a:gd name="T11" fmla="*/ 15819 h 16051"/>
                <a:gd name="T12" fmla="*/ 241 w 4502"/>
                <a:gd name="T13" fmla="*/ 15488 h 16051"/>
                <a:gd name="T14" fmla="*/ 45 w 4502"/>
                <a:gd name="T15" fmla="*/ 14548 h 16051"/>
                <a:gd name="T16" fmla="*/ 45 w 4502"/>
                <a:gd name="T17" fmla="*/ 13714 h 16051"/>
                <a:gd name="T18" fmla="*/ 100 w 4502"/>
                <a:gd name="T19" fmla="*/ 9177 h 16051"/>
                <a:gd name="T20" fmla="*/ 100 w 4502"/>
                <a:gd name="T21" fmla="*/ 8128 h 16051"/>
                <a:gd name="T22" fmla="*/ 306 w 4502"/>
                <a:gd name="T23" fmla="*/ 7254 h 16051"/>
                <a:gd name="T24" fmla="*/ 598 w 4502"/>
                <a:gd name="T25" fmla="*/ 6657 h 16051"/>
                <a:gd name="T26" fmla="*/ 723 w 4502"/>
                <a:gd name="T27" fmla="*/ 5993 h 16051"/>
                <a:gd name="T28" fmla="*/ 577 w 4502"/>
                <a:gd name="T29" fmla="*/ 5335 h 16051"/>
                <a:gd name="T30" fmla="*/ 281 w 4502"/>
                <a:gd name="T31" fmla="*/ 4858 h 16051"/>
                <a:gd name="T32" fmla="*/ 50 w 4502"/>
                <a:gd name="T33" fmla="*/ 4321 h 16051"/>
                <a:gd name="T34" fmla="*/ 14 w 4502"/>
                <a:gd name="T35" fmla="*/ 3617 h 16051"/>
                <a:gd name="T36" fmla="*/ 171 w 4502"/>
                <a:gd name="T37" fmla="*/ 3080 h 16051"/>
                <a:gd name="T38" fmla="*/ 447 w 4502"/>
                <a:gd name="T39" fmla="*/ 2728 h 16051"/>
                <a:gd name="T40" fmla="*/ 808 w 4502"/>
                <a:gd name="T41" fmla="*/ 2562 h 16051"/>
                <a:gd name="T42" fmla="*/ 1045 w 4502"/>
                <a:gd name="T43" fmla="*/ 2476 h 16051"/>
                <a:gd name="T44" fmla="*/ 1271 w 4502"/>
                <a:gd name="T45" fmla="*/ 2190 h 16051"/>
                <a:gd name="T46" fmla="*/ 1351 w 4502"/>
                <a:gd name="T47" fmla="*/ 1442 h 16051"/>
                <a:gd name="T48" fmla="*/ 1275 w 4502"/>
                <a:gd name="T49" fmla="*/ 1351 h 16051"/>
                <a:gd name="T50" fmla="*/ 1185 w 4502"/>
                <a:gd name="T51" fmla="*/ 1205 h 16051"/>
                <a:gd name="T52" fmla="*/ 1542 w 4502"/>
                <a:gd name="T53" fmla="*/ 45 h 16051"/>
                <a:gd name="T54" fmla="*/ 2546 w 4502"/>
                <a:gd name="T55" fmla="*/ 5 h 16051"/>
                <a:gd name="T56" fmla="*/ 3310 w 4502"/>
                <a:gd name="T57" fmla="*/ 120 h 16051"/>
                <a:gd name="T58" fmla="*/ 3280 w 4502"/>
                <a:gd name="T59" fmla="*/ 1286 h 16051"/>
                <a:gd name="T60" fmla="*/ 3175 w 4502"/>
                <a:gd name="T61" fmla="*/ 1381 h 16051"/>
                <a:gd name="T62" fmla="*/ 3155 w 4502"/>
                <a:gd name="T63" fmla="*/ 1999 h 16051"/>
                <a:gd name="T64" fmla="*/ 3351 w 4502"/>
                <a:gd name="T65" fmla="*/ 2391 h 16051"/>
                <a:gd name="T66" fmla="*/ 3572 w 4502"/>
                <a:gd name="T67" fmla="*/ 2542 h 16051"/>
                <a:gd name="T68" fmla="*/ 3878 w 4502"/>
                <a:gd name="T69" fmla="*/ 2622 h 16051"/>
                <a:gd name="T70" fmla="*/ 4199 w 4502"/>
                <a:gd name="T71" fmla="*/ 2879 h 16051"/>
                <a:gd name="T72" fmla="*/ 4435 w 4502"/>
                <a:gd name="T73" fmla="*/ 3331 h 16051"/>
                <a:gd name="T74" fmla="*/ 4496 w 4502"/>
                <a:gd name="T75" fmla="*/ 3994 h 16051"/>
                <a:gd name="T76" fmla="*/ 4355 w 4502"/>
                <a:gd name="T77" fmla="*/ 4607 h 16051"/>
                <a:gd name="T78" fmla="*/ 4109 w 4502"/>
                <a:gd name="T79" fmla="*/ 5008 h 16051"/>
                <a:gd name="T80" fmla="*/ 3812 w 4502"/>
                <a:gd name="T81" fmla="*/ 5662 h 16051"/>
                <a:gd name="T82" fmla="*/ 3807 w 4502"/>
                <a:gd name="T83" fmla="*/ 6325 h 16051"/>
                <a:gd name="T84" fmla="*/ 4019 w 4502"/>
                <a:gd name="T85" fmla="*/ 6883 h 16051"/>
                <a:gd name="T86" fmla="*/ 4320 w 4502"/>
                <a:gd name="T87" fmla="*/ 7666 h 16051"/>
                <a:gd name="T88" fmla="*/ 4425 w 4502"/>
                <a:gd name="T89" fmla="*/ 8630 h 16051"/>
                <a:gd name="T90" fmla="*/ 4416 w 4502"/>
                <a:gd name="T91" fmla="*/ 13588 h 16051"/>
                <a:gd name="T92" fmla="*/ 4480 w 4502"/>
                <a:gd name="T93" fmla="*/ 14086 h 16051"/>
                <a:gd name="T94" fmla="*/ 4375 w 4502"/>
                <a:gd name="T95" fmla="*/ 15040 h 16051"/>
                <a:gd name="T96" fmla="*/ 4159 w 4502"/>
                <a:gd name="T97" fmla="*/ 15728 h 16051"/>
                <a:gd name="T98" fmla="*/ 4008 w 4502"/>
                <a:gd name="T99" fmla="*/ 15884 h 16051"/>
                <a:gd name="T100" fmla="*/ 3803 w 4502"/>
                <a:gd name="T101" fmla="*/ 15929 h 16051"/>
                <a:gd name="T102" fmla="*/ 3591 w 4502"/>
                <a:gd name="T103" fmla="*/ 15839 h 16051"/>
                <a:gd name="T104" fmla="*/ 3351 w 4502"/>
                <a:gd name="T105" fmla="*/ 15709 h 16051"/>
                <a:gd name="T106" fmla="*/ 3074 w 4502"/>
                <a:gd name="T107" fmla="*/ 15824 h 16051"/>
                <a:gd name="T108" fmla="*/ 2370 w 4502"/>
                <a:gd name="T109" fmla="*/ 16045 h 16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2" h="16051">
                  <a:moveTo>
                    <a:pt x="2250" y="16050"/>
                  </a:moveTo>
                  <a:lnTo>
                    <a:pt x="2250" y="16050"/>
                  </a:lnTo>
                  <a:lnTo>
                    <a:pt x="2124" y="16045"/>
                  </a:lnTo>
                  <a:lnTo>
                    <a:pt x="1999" y="16030"/>
                  </a:lnTo>
                  <a:lnTo>
                    <a:pt x="1873" y="16005"/>
                  </a:lnTo>
                  <a:lnTo>
                    <a:pt x="1753" y="15970"/>
                  </a:lnTo>
                  <a:lnTo>
                    <a:pt x="1638" y="15929"/>
                  </a:lnTo>
                  <a:lnTo>
                    <a:pt x="1527" y="15879"/>
                  </a:lnTo>
                  <a:lnTo>
                    <a:pt x="1421" y="15824"/>
                  </a:lnTo>
                  <a:lnTo>
                    <a:pt x="1331" y="15764"/>
                  </a:lnTo>
                  <a:lnTo>
                    <a:pt x="1331" y="15764"/>
                  </a:lnTo>
                  <a:lnTo>
                    <a:pt x="1291" y="15734"/>
                  </a:lnTo>
                  <a:lnTo>
                    <a:pt x="1246" y="15719"/>
                  </a:lnTo>
                  <a:lnTo>
                    <a:pt x="1195" y="15709"/>
                  </a:lnTo>
                  <a:lnTo>
                    <a:pt x="1145" y="15709"/>
                  </a:lnTo>
                  <a:lnTo>
                    <a:pt x="1100" y="15714"/>
                  </a:lnTo>
                  <a:lnTo>
                    <a:pt x="1054" y="15728"/>
                  </a:lnTo>
                  <a:lnTo>
                    <a:pt x="1009" y="15754"/>
                  </a:lnTo>
                  <a:lnTo>
                    <a:pt x="969" y="15784"/>
                  </a:lnTo>
                  <a:lnTo>
                    <a:pt x="969" y="15784"/>
                  </a:lnTo>
                  <a:lnTo>
                    <a:pt x="909" y="15839"/>
                  </a:lnTo>
                  <a:lnTo>
                    <a:pt x="839" y="15884"/>
                  </a:lnTo>
                  <a:lnTo>
                    <a:pt x="839" y="15884"/>
                  </a:lnTo>
                  <a:lnTo>
                    <a:pt x="803" y="15899"/>
                  </a:lnTo>
                  <a:lnTo>
                    <a:pt x="768" y="15915"/>
                  </a:lnTo>
                  <a:lnTo>
                    <a:pt x="733" y="15924"/>
                  </a:lnTo>
                  <a:lnTo>
                    <a:pt x="698" y="15929"/>
                  </a:lnTo>
                  <a:lnTo>
                    <a:pt x="663" y="15929"/>
                  </a:lnTo>
                  <a:lnTo>
                    <a:pt x="627" y="15929"/>
                  </a:lnTo>
                  <a:lnTo>
                    <a:pt x="593" y="15924"/>
                  </a:lnTo>
                  <a:lnTo>
                    <a:pt x="557" y="15915"/>
                  </a:lnTo>
                  <a:lnTo>
                    <a:pt x="522" y="15904"/>
                  </a:lnTo>
                  <a:lnTo>
                    <a:pt x="492" y="15884"/>
                  </a:lnTo>
                  <a:lnTo>
                    <a:pt x="462" y="15869"/>
                  </a:lnTo>
                  <a:lnTo>
                    <a:pt x="431" y="15844"/>
                  </a:lnTo>
                  <a:lnTo>
                    <a:pt x="406" y="15819"/>
                  </a:lnTo>
                  <a:lnTo>
                    <a:pt x="381" y="15794"/>
                  </a:lnTo>
                  <a:lnTo>
                    <a:pt x="356" y="15764"/>
                  </a:lnTo>
                  <a:lnTo>
                    <a:pt x="341" y="15728"/>
                  </a:lnTo>
                  <a:lnTo>
                    <a:pt x="341" y="15728"/>
                  </a:lnTo>
                  <a:lnTo>
                    <a:pt x="286" y="15618"/>
                  </a:lnTo>
                  <a:lnTo>
                    <a:pt x="241" y="15488"/>
                  </a:lnTo>
                  <a:lnTo>
                    <a:pt x="196" y="15352"/>
                  </a:lnTo>
                  <a:lnTo>
                    <a:pt x="160" y="15201"/>
                  </a:lnTo>
                  <a:lnTo>
                    <a:pt x="125" y="15040"/>
                  </a:lnTo>
                  <a:lnTo>
                    <a:pt x="90" y="14880"/>
                  </a:lnTo>
                  <a:lnTo>
                    <a:pt x="65" y="14714"/>
                  </a:lnTo>
                  <a:lnTo>
                    <a:pt x="45" y="14548"/>
                  </a:lnTo>
                  <a:lnTo>
                    <a:pt x="30" y="14387"/>
                  </a:lnTo>
                  <a:lnTo>
                    <a:pt x="20" y="14232"/>
                  </a:lnTo>
                  <a:lnTo>
                    <a:pt x="20" y="14086"/>
                  </a:lnTo>
                  <a:lnTo>
                    <a:pt x="20" y="13945"/>
                  </a:lnTo>
                  <a:lnTo>
                    <a:pt x="30" y="13825"/>
                  </a:lnTo>
                  <a:lnTo>
                    <a:pt x="45" y="13714"/>
                  </a:lnTo>
                  <a:lnTo>
                    <a:pt x="60" y="13669"/>
                  </a:lnTo>
                  <a:lnTo>
                    <a:pt x="70" y="13624"/>
                  </a:lnTo>
                  <a:lnTo>
                    <a:pt x="85" y="13588"/>
                  </a:lnTo>
                  <a:lnTo>
                    <a:pt x="100" y="13558"/>
                  </a:lnTo>
                  <a:lnTo>
                    <a:pt x="100" y="9177"/>
                  </a:lnTo>
                  <a:lnTo>
                    <a:pt x="100" y="9177"/>
                  </a:lnTo>
                  <a:lnTo>
                    <a:pt x="85" y="8992"/>
                  </a:lnTo>
                  <a:lnTo>
                    <a:pt x="80" y="8806"/>
                  </a:lnTo>
                  <a:lnTo>
                    <a:pt x="75" y="8630"/>
                  </a:lnTo>
                  <a:lnTo>
                    <a:pt x="75" y="8459"/>
                  </a:lnTo>
                  <a:lnTo>
                    <a:pt x="85" y="8289"/>
                  </a:lnTo>
                  <a:lnTo>
                    <a:pt x="100" y="8128"/>
                  </a:lnTo>
                  <a:lnTo>
                    <a:pt x="120" y="7968"/>
                  </a:lnTo>
                  <a:lnTo>
                    <a:pt x="145" y="7817"/>
                  </a:lnTo>
                  <a:lnTo>
                    <a:pt x="176" y="7666"/>
                  </a:lnTo>
                  <a:lnTo>
                    <a:pt x="215" y="7526"/>
                  </a:lnTo>
                  <a:lnTo>
                    <a:pt x="256" y="7385"/>
                  </a:lnTo>
                  <a:lnTo>
                    <a:pt x="306" y="7254"/>
                  </a:lnTo>
                  <a:lnTo>
                    <a:pt x="356" y="7124"/>
                  </a:lnTo>
                  <a:lnTo>
                    <a:pt x="417" y="6998"/>
                  </a:lnTo>
                  <a:lnTo>
                    <a:pt x="482" y="6883"/>
                  </a:lnTo>
                  <a:lnTo>
                    <a:pt x="552" y="6767"/>
                  </a:lnTo>
                  <a:lnTo>
                    <a:pt x="552" y="6767"/>
                  </a:lnTo>
                  <a:lnTo>
                    <a:pt x="598" y="6657"/>
                  </a:lnTo>
                  <a:lnTo>
                    <a:pt x="637" y="6546"/>
                  </a:lnTo>
                  <a:lnTo>
                    <a:pt x="668" y="6436"/>
                  </a:lnTo>
                  <a:lnTo>
                    <a:pt x="693" y="6325"/>
                  </a:lnTo>
                  <a:lnTo>
                    <a:pt x="713" y="6210"/>
                  </a:lnTo>
                  <a:lnTo>
                    <a:pt x="723" y="6099"/>
                  </a:lnTo>
                  <a:lnTo>
                    <a:pt x="723" y="5993"/>
                  </a:lnTo>
                  <a:lnTo>
                    <a:pt x="718" y="5883"/>
                  </a:lnTo>
                  <a:lnTo>
                    <a:pt x="708" y="5772"/>
                  </a:lnTo>
                  <a:lnTo>
                    <a:pt x="688" y="5662"/>
                  </a:lnTo>
                  <a:lnTo>
                    <a:pt x="657" y="5551"/>
                  </a:lnTo>
                  <a:lnTo>
                    <a:pt x="623" y="5441"/>
                  </a:lnTo>
                  <a:lnTo>
                    <a:pt x="577" y="5335"/>
                  </a:lnTo>
                  <a:lnTo>
                    <a:pt x="522" y="5225"/>
                  </a:lnTo>
                  <a:lnTo>
                    <a:pt x="462" y="5119"/>
                  </a:lnTo>
                  <a:lnTo>
                    <a:pt x="386" y="5008"/>
                  </a:lnTo>
                  <a:lnTo>
                    <a:pt x="386" y="5008"/>
                  </a:lnTo>
                  <a:lnTo>
                    <a:pt x="331" y="4933"/>
                  </a:lnTo>
                  <a:lnTo>
                    <a:pt x="281" y="4858"/>
                  </a:lnTo>
                  <a:lnTo>
                    <a:pt x="231" y="4777"/>
                  </a:lnTo>
                  <a:lnTo>
                    <a:pt x="185" y="4692"/>
                  </a:lnTo>
                  <a:lnTo>
                    <a:pt x="145" y="4607"/>
                  </a:lnTo>
                  <a:lnTo>
                    <a:pt x="110" y="4516"/>
                  </a:lnTo>
                  <a:lnTo>
                    <a:pt x="75" y="4421"/>
                  </a:lnTo>
                  <a:lnTo>
                    <a:pt x="50" y="4321"/>
                  </a:lnTo>
                  <a:lnTo>
                    <a:pt x="30" y="4220"/>
                  </a:lnTo>
                  <a:lnTo>
                    <a:pt x="9" y="4109"/>
                  </a:lnTo>
                  <a:lnTo>
                    <a:pt x="5" y="3994"/>
                  </a:lnTo>
                  <a:lnTo>
                    <a:pt x="0" y="3873"/>
                  </a:lnTo>
                  <a:lnTo>
                    <a:pt x="5" y="3748"/>
                  </a:lnTo>
                  <a:lnTo>
                    <a:pt x="14" y="3617"/>
                  </a:lnTo>
                  <a:lnTo>
                    <a:pt x="35" y="3476"/>
                  </a:lnTo>
                  <a:lnTo>
                    <a:pt x="60" y="3331"/>
                  </a:lnTo>
                  <a:lnTo>
                    <a:pt x="60" y="3331"/>
                  </a:lnTo>
                  <a:lnTo>
                    <a:pt x="95" y="3240"/>
                  </a:lnTo>
                  <a:lnTo>
                    <a:pt x="130" y="3160"/>
                  </a:lnTo>
                  <a:lnTo>
                    <a:pt x="171" y="3080"/>
                  </a:lnTo>
                  <a:lnTo>
                    <a:pt x="210" y="3009"/>
                  </a:lnTo>
                  <a:lnTo>
                    <a:pt x="251" y="2939"/>
                  </a:lnTo>
                  <a:lnTo>
                    <a:pt x="296" y="2879"/>
                  </a:lnTo>
                  <a:lnTo>
                    <a:pt x="346" y="2823"/>
                  </a:lnTo>
                  <a:lnTo>
                    <a:pt x="397" y="2773"/>
                  </a:lnTo>
                  <a:lnTo>
                    <a:pt x="447" y="2728"/>
                  </a:lnTo>
                  <a:lnTo>
                    <a:pt x="502" y="2688"/>
                  </a:lnTo>
                  <a:lnTo>
                    <a:pt x="557" y="2652"/>
                  </a:lnTo>
                  <a:lnTo>
                    <a:pt x="618" y="2622"/>
                  </a:lnTo>
                  <a:lnTo>
                    <a:pt x="683" y="2597"/>
                  </a:lnTo>
                  <a:lnTo>
                    <a:pt x="743" y="2577"/>
                  </a:lnTo>
                  <a:lnTo>
                    <a:pt x="808" y="2562"/>
                  </a:lnTo>
                  <a:lnTo>
                    <a:pt x="879" y="2552"/>
                  </a:lnTo>
                  <a:lnTo>
                    <a:pt x="879" y="2552"/>
                  </a:lnTo>
                  <a:lnTo>
                    <a:pt x="924" y="2542"/>
                  </a:lnTo>
                  <a:lnTo>
                    <a:pt x="969" y="2522"/>
                  </a:lnTo>
                  <a:lnTo>
                    <a:pt x="1009" y="2501"/>
                  </a:lnTo>
                  <a:lnTo>
                    <a:pt x="1045" y="2476"/>
                  </a:lnTo>
                  <a:lnTo>
                    <a:pt x="1079" y="2451"/>
                  </a:lnTo>
                  <a:lnTo>
                    <a:pt x="1115" y="2421"/>
                  </a:lnTo>
                  <a:lnTo>
                    <a:pt x="1145" y="2391"/>
                  </a:lnTo>
                  <a:lnTo>
                    <a:pt x="1175" y="2356"/>
                  </a:lnTo>
                  <a:lnTo>
                    <a:pt x="1225" y="2275"/>
                  </a:lnTo>
                  <a:lnTo>
                    <a:pt x="1271" y="2190"/>
                  </a:lnTo>
                  <a:lnTo>
                    <a:pt x="1311" y="2100"/>
                  </a:lnTo>
                  <a:lnTo>
                    <a:pt x="1346" y="1999"/>
                  </a:lnTo>
                  <a:lnTo>
                    <a:pt x="1346" y="1999"/>
                  </a:lnTo>
                  <a:lnTo>
                    <a:pt x="1351" y="1964"/>
                  </a:lnTo>
                  <a:lnTo>
                    <a:pt x="1351" y="1442"/>
                  </a:lnTo>
                  <a:lnTo>
                    <a:pt x="1351" y="1442"/>
                  </a:lnTo>
                  <a:lnTo>
                    <a:pt x="1346" y="1417"/>
                  </a:lnTo>
                  <a:lnTo>
                    <a:pt x="1336" y="1397"/>
                  </a:lnTo>
                  <a:lnTo>
                    <a:pt x="1321" y="1381"/>
                  </a:lnTo>
                  <a:lnTo>
                    <a:pt x="1306" y="1366"/>
                  </a:lnTo>
                  <a:lnTo>
                    <a:pt x="1306" y="1366"/>
                  </a:lnTo>
                  <a:lnTo>
                    <a:pt x="1275" y="1351"/>
                  </a:lnTo>
                  <a:lnTo>
                    <a:pt x="1255" y="1331"/>
                  </a:lnTo>
                  <a:lnTo>
                    <a:pt x="1235" y="1311"/>
                  </a:lnTo>
                  <a:lnTo>
                    <a:pt x="1216" y="1286"/>
                  </a:lnTo>
                  <a:lnTo>
                    <a:pt x="1205" y="1261"/>
                  </a:lnTo>
                  <a:lnTo>
                    <a:pt x="1195" y="1235"/>
                  </a:lnTo>
                  <a:lnTo>
                    <a:pt x="1185" y="1205"/>
                  </a:lnTo>
                  <a:lnTo>
                    <a:pt x="1185" y="1175"/>
                  </a:lnTo>
                  <a:lnTo>
                    <a:pt x="1185" y="120"/>
                  </a:lnTo>
                  <a:lnTo>
                    <a:pt x="1185" y="120"/>
                  </a:lnTo>
                  <a:lnTo>
                    <a:pt x="1296" y="90"/>
                  </a:lnTo>
                  <a:lnTo>
                    <a:pt x="1416" y="65"/>
                  </a:lnTo>
                  <a:lnTo>
                    <a:pt x="1542" y="45"/>
                  </a:lnTo>
                  <a:lnTo>
                    <a:pt x="1672" y="25"/>
                  </a:lnTo>
                  <a:lnTo>
                    <a:pt x="1813" y="15"/>
                  </a:lnTo>
                  <a:lnTo>
                    <a:pt x="1954" y="5"/>
                  </a:lnTo>
                  <a:lnTo>
                    <a:pt x="2250" y="0"/>
                  </a:lnTo>
                  <a:lnTo>
                    <a:pt x="2250" y="0"/>
                  </a:lnTo>
                  <a:lnTo>
                    <a:pt x="2546" y="5"/>
                  </a:lnTo>
                  <a:lnTo>
                    <a:pt x="2687" y="15"/>
                  </a:lnTo>
                  <a:lnTo>
                    <a:pt x="2823" y="25"/>
                  </a:lnTo>
                  <a:lnTo>
                    <a:pt x="2954" y="45"/>
                  </a:lnTo>
                  <a:lnTo>
                    <a:pt x="3084" y="65"/>
                  </a:lnTo>
                  <a:lnTo>
                    <a:pt x="3200" y="90"/>
                  </a:lnTo>
                  <a:lnTo>
                    <a:pt x="3310" y="120"/>
                  </a:lnTo>
                  <a:lnTo>
                    <a:pt x="3310" y="1175"/>
                  </a:lnTo>
                  <a:lnTo>
                    <a:pt x="3310" y="1175"/>
                  </a:lnTo>
                  <a:lnTo>
                    <a:pt x="3310" y="1205"/>
                  </a:lnTo>
                  <a:lnTo>
                    <a:pt x="3305" y="1235"/>
                  </a:lnTo>
                  <a:lnTo>
                    <a:pt x="3295" y="1261"/>
                  </a:lnTo>
                  <a:lnTo>
                    <a:pt x="3280" y="1286"/>
                  </a:lnTo>
                  <a:lnTo>
                    <a:pt x="3265" y="1311"/>
                  </a:lnTo>
                  <a:lnTo>
                    <a:pt x="3245" y="1331"/>
                  </a:lnTo>
                  <a:lnTo>
                    <a:pt x="3220" y="1351"/>
                  </a:lnTo>
                  <a:lnTo>
                    <a:pt x="3195" y="1366"/>
                  </a:lnTo>
                  <a:lnTo>
                    <a:pt x="3195" y="1366"/>
                  </a:lnTo>
                  <a:lnTo>
                    <a:pt x="3175" y="1381"/>
                  </a:lnTo>
                  <a:lnTo>
                    <a:pt x="3159" y="1397"/>
                  </a:lnTo>
                  <a:lnTo>
                    <a:pt x="3155" y="1417"/>
                  </a:lnTo>
                  <a:lnTo>
                    <a:pt x="3150" y="1442"/>
                  </a:lnTo>
                  <a:lnTo>
                    <a:pt x="3150" y="1964"/>
                  </a:lnTo>
                  <a:lnTo>
                    <a:pt x="3150" y="1964"/>
                  </a:lnTo>
                  <a:lnTo>
                    <a:pt x="3155" y="1999"/>
                  </a:lnTo>
                  <a:lnTo>
                    <a:pt x="3155" y="1999"/>
                  </a:lnTo>
                  <a:lnTo>
                    <a:pt x="3189" y="2100"/>
                  </a:lnTo>
                  <a:lnTo>
                    <a:pt x="3225" y="2190"/>
                  </a:lnTo>
                  <a:lnTo>
                    <a:pt x="3270" y="2275"/>
                  </a:lnTo>
                  <a:lnTo>
                    <a:pt x="3326" y="2356"/>
                  </a:lnTo>
                  <a:lnTo>
                    <a:pt x="3351" y="2391"/>
                  </a:lnTo>
                  <a:lnTo>
                    <a:pt x="3381" y="2421"/>
                  </a:lnTo>
                  <a:lnTo>
                    <a:pt x="3415" y="2451"/>
                  </a:lnTo>
                  <a:lnTo>
                    <a:pt x="3451" y="2476"/>
                  </a:lnTo>
                  <a:lnTo>
                    <a:pt x="3491" y="2501"/>
                  </a:lnTo>
                  <a:lnTo>
                    <a:pt x="3531" y="2522"/>
                  </a:lnTo>
                  <a:lnTo>
                    <a:pt x="3572" y="2542"/>
                  </a:lnTo>
                  <a:lnTo>
                    <a:pt x="3622" y="2552"/>
                  </a:lnTo>
                  <a:lnTo>
                    <a:pt x="3622" y="2552"/>
                  </a:lnTo>
                  <a:lnTo>
                    <a:pt x="3687" y="2562"/>
                  </a:lnTo>
                  <a:lnTo>
                    <a:pt x="3752" y="2577"/>
                  </a:lnTo>
                  <a:lnTo>
                    <a:pt x="3818" y="2597"/>
                  </a:lnTo>
                  <a:lnTo>
                    <a:pt x="3878" y="2622"/>
                  </a:lnTo>
                  <a:lnTo>
                    <a:pt x="3938" y="2652"/>
                  </a:lnTo>
                  <a:lnTo>
                    <a:pt x="3994" y="2688"/>
                  </a:lnTo>
                  <a:lnTo>
                    <a:pt x="4049" y="2728"/>
                  </a:lnTo>
                  <a:lnTo>
                    <a:pt x="4104" y="2773"/>
                  </a:lnTo>
                  <a:lnTo>
                    <a:pt x="4154" y="2823"/>
                  </a:lnTo>
                  <a:lnTo>
                    <a:pt x="4199" y="2879"/>
                  </a:lnTo>
                  <a:lnTo>
                    <a:pt x="4245" y="2939"/>
                  </a:lnTo>
                  <a:lnTo>
                    <a:pt x="4290" y="3009"/>
                  </a:lnTo>
                  <a:lnTo>
                    <a:pt x="4330" y="3080"/>
                  </a:lnTo>
                  <a:lnTo>
                    <a:pt x="4370" y="3160"/>
                  </a:lnTo>
                  <a:lnTo>
                    <a:pt x="4405" y="3240"/>
                  </a:lnTo>
                  <a:lnTo>
                    <a:pt x="4435" y="3331"/>
                  </a:lnTo>
                  <a:lnTo>
                    <a:pt x="4435" y="3331"/>
                  </a:lnTo>
                  <a:lnTo>
                    <a:pt x="4466" y="3476"/>
                  </a:lnTo>
                  <a:lnTo>
                    <a:pt x="4486" y="3617"/>
                  </a:lnTo>
                  <a:lnTo>
                    <a:pt x="4496" y="3748"/>
                  </a:lnTo>
                  <a:lnTo>
                    <a:pt x="4501" y="3873"/>
                  </a:lnTo>
                  <a:lnTo>
                    <a:pt x="4496" y="3994"/>
                  </a:lnTo>
                  <a:lnTo>
                    <a:pt x="4486" y="4109"/>
                  </a:lnTo>
                  <a:lnTo>
                    <a:pt x="4471" y="4220"/>
                  </a:lnTo>
                  <a:lnTo>
                    <a:pt x="4451" y="4321"/>
                  </a:lnTo>
                  <a:lnTo>
                    <a:pt x="4421" y="4421"/>
                  </a:lnTo>
                  <a:lnTo>
                    <a:pt x="4390" y="4516"/>
                  </a:lnTo>
                  <a:lnTo>
                    <a:pt x="4355" y="4607"/>
                  </a:lnTo>
                  <a:lnTo>
                    <a:pt x="4310" y="4692"/>
                  </a:lnTo>
                  <a:lnTo>
                    <a:pt x="4265" y="4777"/>
                  </a:lnTo>
                  <a:lnTo>
                    <a:pt x="4220" y="4858"/>
                  </a:lnTo>
                  <a:lnTo>
                    <a:pt x="4164" y="4933"/>
                  </a:lnTo>
                  <a:lnTo>
                    <a:pt x="4109" y="5008"/>
                  </a:lnTo>
                  <a:lnTo>
                    <a:pt x="4109" y="5008"/>
                  </a:lnTo>
                  <a:lnTo>
                    <a:pt x="4039" y="5119"/>
                  </a:lnTo>
                  <a:lnTo>
                    <a:pt x="3974" y="5225"/>
                  </a:lnTo>
                  <a:lnTo>
                    <a:pt x="3923" y="5335"/>
                  </a:lnTo>
                  <a:lnTo>
                    <a:pt x="3878" y="5441"/>
                  </a:lnTo>
                  <a:lnTo>
                    <a:pt x="3837" y="5551"/>
                  </a:lnTo>
                  <a:lnTo>
                    <a:pt x="3812" y="5662"/>
                  </a:lnTo>
                  <a:lnTo>
                    <a:pt x="3792" y="5772"/>
                  </a:lnTo>
                  <a:lnTo>
                    <a:pt x="3777" y="5883"/>
                  </a:lnTo>
                  <a:lnTo>
                    <a:pt x="3773" y="5993"/>
                  </a:lnTo>
                  <a:lnTo>
                    <a:pt x="3777" y="6099"/>
                  </a:lnTo>
                  <a:lnTo>
                    <a:pt x="3787" y="6210"/>
                  </a:lnTo>
                  <a:lnTo>
                    <a:pt x="3807" y="6325"/>
                  </a:lnTo>
                  <a:lnTo>
                    <a:pt x="3833" y="6436"/>
                  </a:lnTo>
                  <a:lnTo>
                    <a:pt x="3863" y="6546"/>
                  </a:lnTo>
                  <a:lnTo>
                    <a:pt x="3903" y="6657"/>
                  </a:lnTo>
                  <a:lnTo>
                    <a:pt x="3948" y="6767"/>
                  </a:lnTo>
                  <a:lnTo>
                    <a:pt x="3948" y="6767"/>
                  </a:lnTo>
                  <a:lnTo>
                    <a:pt x="4019" y="6883"/>
                  </a:lnTo>
                  <a:lnTo>
                    <a:pt x="4079" y="6998"/>
                  </a:lnTo>
                  <a:lnTo>
                    <a:pt x="4139" y="7124"/>
                  </a:lnTo>
                  <a:lnTo>
                    <a:pt x="4195" y="7254"/>
                  </a:lnTo>
                  <a:lnTo>
                    <a:pt x="4240" y="7385"/>
                  </a:lnTo>
                  <a:lnTo>
                    <a:pt x="4285" y="7526"/>
                  </a:lnTo>
                  <a:lnTo>
                    <a:pt x="4320" y="7666"/>
                  </a:lnTo>
                  <a:lnTo>
                    <a:pt x="4350" y="7817"/>
                  </a:lnTo>
                  <a:lnTo>
                    <a:pt x="4380" y="7968"/>
                  </a:lnTo>
                  <a:lnTo>
                    <a:pt x="4400" y="8128"/>
                  </a:lnTo>
                  <a:lnTo>
                    <a:pt x="4410" y="8289"/>
                  </a:lnTo>
                  <a:lnTo>
                    <a:pt x="4421" y="8459"/>
                  </a:lnTo>
                  <a:lnTo>
                    <a:pt x="4425" y="8630"/>
                  </a:lnTo>
                  <a:lnTo>
                    <a:pt x="4421" y="8806"/>
                  </a:lnTo>
                  <a:lnTo>
                    <a:pt x="4410" y="8992"/>
                  </a:lnTo>
                  <a:lnTo>
                    <a:pt x="4396" y="9177"/>
                  </a:lnTo>
                  <a:lnTo>
                    <a:pt x="4396" y="13558"/>
                  </a:lnTo>
                  <a:lnTo>
                    <a:pt x="4396" y="13558"/>
                  </a:lnTo>
                  <a:lnTo>
                    <a:pt x="4416" y="13588"/>
                  </a:lnTo>
                  <a:lnTo>
                    <a:pt x="4425" y="13624"/>
                  </a:lnTo>
                  <a:lnTo>
                    <a:pt x="4441" y="13669"/>
                  </a:lnTo>
                  <a:lnTo>
                    <a:pt x="4451" y="13714"/>
                  </a:lnTo>
                  <a:lnTo>
                    <a:pt x="4466" y="13825"/>
                  </a:lnTo>
                  <a:lnTo>
                    <a:pt x="4476" y="13945"/>
                  </a:lnTo>
                  <a:lnTo>
                    <a:pt x="4480" y="14086"/>
                  </a:lnTo>
                  <a:lnTo>
                    <a:pt x="4476" y="14232"/>
                  </a:lnTo>
                  <a:lnTo>
                    <a:pt x="4466" y="14387"/>
                  </a:lnTo>
                  <a:lnTo>
                    <a:pt x="4451" y="14548"/>
                  </a:lnTo>
                  <a:lnTo>
                    <a:pt x="4430" y="14714"/>
                  </a:lnTo>
                  <a:lnTo>
                    <a:pt x="4405" y="14880"/>
                  </a:lnTo>
                  <a:lnTo>
                    <a:pt x="4375" y="15040"/>
                  </a:lnTo>
                  <a:lnTo>
                    <a:pt x="4340" y="15201"/>
                  </a:lnTo>
                  <a:lnTo>
                    <a:pt x="4300" y="15352"/>
                  </a:lnTo>
                  <a:lnTo>
                    <a:pt x="4255" y="15488"/>
                  </a:lnTo>
                  <a:lnTo>
                    <a:pt x="4209" y="15618"/>
                  </a:lnTo>
                  <a:lnTo>
                    <a:pt x="4159" y="15728"/>
                  </a:lnTo>
                  <a:lnTo>
                    <a:pt x="4159" y="15728"/>
                  </a:lnTo>
                  <a:lnTo>
                    <a:pt x="4139" y="15764"/>
                  </a:lnTo>
                  <a:lnTo>
                    <a:pt x="4119" y="15794"/>
                  </a:lnTo>
                  <a:lnTo>
                    <a:pt x="4094" y="15819"/>
                  </a:lnTo>
                  <a:lnTo>
                    <a:pt x="4069" y="15844"/>
                  </a:lnTo>
                  <a:lnTo>
                    <a:pt x="4039" y="15869"/>
                  </a:lnTo>
                  <a:lnTo>
                    <a:pt x="4008" y="15884"/>
                  </a:lnTo>
                  <a:lnTo>
                    <a:pt x="3974" y="15904"/>
                  </a:lnTo>
                  <a:lnTo>
                    <a:pt x="3943" y="15915"/>
                  </a:lnTo>
                  <a:lnTo>
                    <a:pt x="3908" y="15924"/>
                  </a:lnTo>
                  <a:lnTo>
                    <a:pt x="3873" y="15929"/>
                  </a:lnTo>
                  <a:lnTo>
                    <a:pt x="3837" y="15929"/>
                  </a:lnTo>
                  <a:lnTo>
                    <a:pt x="3803" y="15929"/>
                  </a:lnTo>
                  <a:lnTo>
                    <a:pt x="3762" y="15924"/>
                  </a:lnTo>
                  <a:lnTo>
                    <a:pt x="3727" y="15915"/>
                  </a:lnTo>
                  <a:lnTo>
                    <a:pt x="3692" y="15899"/>
                  </a:lnTo>
                  <a:lnTo>
                    <a:pt x="3657" y="15884"/>
                  </a:lnTo>
                  <a:lnTo>
                    <a:pt x="3657" y="15884"/>
                  </a:lnTo>
                  <a:lnTo>
                    <a:pt x="3591" y="15839"/>
                  </a:lnTo>
                  <a:lnTo>
                    <a:pt x="3526" y="15784"/>
                  </a:lnTo>
                  <a:lnTo>
                    <a:pt x="3526" y="15784"/>
                  </a:lnTo>
                  <a:lnTo>
                    <a:pt x="3486" y="15754"/>
                  </a:lnTo>
                  <a:lnTo>
                    <a:pt x="3446" y="15728"/>
                  </a:lnTo>
                  <a:lnTo>
                    <a:pt x="3401" y="15714"/>
                  </a:lnTo>
                  <a:lnTo>
                    <a:pt x="3351" y="15709"/>
                  </a:lnTo>
                  <a:lnTo>
                    <a:pt x="3300" y="15709"/>
                  </a:lnTo>
                  <a:lnTo>
                    <a:pt x="3255" y="15719"/>
                  </a:lnTo>
                  <a:lnTo>
                    <a:pt x="3210" y="15734"/>
                  </a:lnTo>
                  <a:lnTo>
                    <a:pt x="3164" y="15764"/>
                  </a:lnTo>
                  <a:lnTo>
                    <a:pt x="3164" y="15764"/>
                  </a:lnTo>
                  <a:lnTo>
                    <a:pt x="3074" y="15824"/>
                  </a:lnTo>
                  <a:lnTo>
                    <a:pt x="2974" y="15879"/>
                  </a:lnTo>
                  <a:lnTo>
                    <a:pt x="2863" y="15929"/>
                  </a:lnTo>
                  <a:lnTo>
                    <a:pt x="2742" y="15970"/>
                  </a:lnTo>
                  <a:lnTo>
                    <a:pt x="2622" y="16005"/>
                  </a:lnTo>
                  <a:lnTo>
                    <a:pt x="2496" y="16030"/>
                  </a:lnTo>
                  <a:lnTo>
                    <a:pt x="2370" y="16045"/>
                  </a:lnTo>
                  <a:lnTo>
                    <a:pt x="2250" y="16050"/>
                  </a:lnTo>
                </a:path>
              </a:pathLst>
            </a:custGeom>
            <a:noFill/>
            <a:ln w="12700">
              <a:solidFill>
                <a:schemeClr val="bg1">
                  <a:alpha val="30000"/>
                </a:schemeClr>
              </a:solidFill>
            </a:ln>
            <a:effectLst/>
          </p:spPr>
          <p:txBody>
            <a:bodyPr wrap="none" anchor="ctr"/>
            <a:lstStyle/>
            <a:p>
              <a:endParaRPr lang="en-US" sz="1709"/>
            </a:p>
          </p:txBody>
        </p:sp>
        <p:sp>
          <p:nvSpPr>
            <p:cNvPr id="10" name="Freeform 9">
              <a:extLst>
                <a:ext uri="{FF2B5EF4-FFF2-40B4-BE49-F238E27FC236}">
                  <a16:creationId xmlns:a16="http://schemas.microsoft.com/office/drawing/2014/main" id="{ADAEB983-5641-0045-9A7E-6ED2E5D0E284}"/>
                </a:ext>
              </a:extLst>
            </p:cNvPr>
            <p:cNvSpPr>
              <a:spLocks noChangeArrowheads="1"/>
            </p:cNvSpPr>
            <p:nvPr/>
          </p:nvSpPr>
          <p:spPr bwMode="auto">
            <a:xfrm>
              <a:off x="8056401" y="1897832"/>
              <a:ext cx="1091620" cy="3609026"/>
            </a:xfrm>
            <a:custGeom>
              <a:avLst/>
              <a:gdLst>
                <a:gd name="T0" fmla="*/ 728 w 4321"/>
                <a:gd name="T1" fmla="*/ 14262 h 14288"/>
                <a:gd name="T2" fmla="*/ 392 w 4321"/>
                <a:gd name="T3" fmla="*/ 14152 h 14288"/>
                <a:gd name="T4" fmla="*/ 176 w 4321"/>
                <a:gd name="T5" fmla="*/ 14001 h 14288"/>
                <a:gd name="T6" fmla="*/ 25 w 4321"/>
                <a:gd name="T7" fmla="*/ 13770 h 14288"/>
                <a:gd name="T8" fmla="*/ 0 w 4321"/>
                <a:gd name="T9" fmla="*/ 6054 h 14288"/>
                <a:gd name="T10" fmla="*/ 55 w 4321"/>
                <a:gd name="T11" fmla="*/ 5883 h 14288"/>
                <a:gd name="T12" fmla="*/ 140 w 4321"/>
                <a:gd name="T13" fmla="*/ 5788 h 14288"/>
                <a:gd name="T14" fmla="*/ 266 w 4321"/>
                <a:gd name="T15" fmla="*/ 5627 h 14288"/>
                <a:gd name="T16" fmla="*/ 311 w 4321"/>
                <a:gd name="T17" fmla="*/ 5421 h 14288"/>
                <a:gd name="T18" fmla="*/ 306 w 4321"/>
                <a:gd name="T19" fmla="*/ 5301 h 14288"/>
                <a:gd name="T20" fmla="*/ 251 w 4321"/>
                <a:gd name="T21" fmla="*/ 5180 h 14288"/>
                <a:gd name="T22" fmla="*/ 171 w 4321"/>
                <a:gd name="T23" fmla="*/ 5100 h 14288"/>
                <a:gd name="T24" fmla="*/ 75 w 4321"/>
                <a:gd name="T25" fmla="*/ 4969 h 14288"/>
                <a:gd name="T26" fmla="*/ 5 w 4321"/>
                <a:gd name="T27" fmla="*/ 4687 h 14288"/>
                <a:gd name="T28" fmla="*/ 95 w 4321"/>
                <a:gd name="T29" fmla="*/ 3588 h 14288"/>
                <a:gd name="T30" fmla="*/ 281 w 4321"/>
                <a:gd name="T31" fmla="*/ 3060 h 14288"/>
                <a:gd name="T32" fmla="*/ 548 w 4321"/>
                <a:gd name="T33" fmla="*/ 2603 h 14288"/>
                <a:gd name="T34" fmla="*/ 899 w 4321"/>
                <a:gd name="T35" fmla="*/ 2206 h 14288"/>
                <a:gd name="T36" fmla="*/ 1115 w 4321"/>
                <a:gd name="T37" fmla="*/ 2015 h 14288"/>
                <a:gd name="T38" fmla="*/ 1130 w 4321"/>
                <a:gd name="T39" fmla="*/ 1598 h 14288"/>
                <a:gd name="T40" fmla="*/ 1095 w 4321"/>
                <a:gd name="T41" fmla="*/ 1537 h 14288"/>
                <a:gd name="T42" fmla="*/ 1030 w 4321"/>
                <a:gd name="T43" fmla="*/ 1528 h 14288"/>
                <a:gd name="T44" fmla="*/ 970 w 4321"/>
                <a:gd name="T45" fmla="*/ 1482 h 14288"/>
                <a:gd name="T46" fmla="*/ 949 w 4321"/>
                <a:gd name="T47" fmla="*/ 467 h 14288"/>
                <a:gd name="T48" fmla="*/ 989 w 4321"/>
                <a:gd name="T49" fmla="*/ 357 h 14288"/>
                <a:gd name="T50" fmla="*/ 1210 w 4321"/>
                <a:gd name="T51" fmla="*/ 206 h 14288"/>
                <a:gd name="T52" fmla="*/ 1652 w 4321"/>
                <a:gd name="T53" fmla="*/ 61 h 14288"/>
                <a:gd name="T54" fmla="*/ 2024 w 4321"/>
                <a:gd name="T55" fmla="*/ 5 h 14288"/>
                <a:gd name="T56" fmla="*/ 2431 w 4321"/>
                <a:gd name="T57" fmla="*/ 20 h 14288"/>
                <a:gd name="T58" fmla="*/ 2893 w 4321"/>
                <a:gd name="T59" fmla="*/ 121 h 14288"/>
                <a:gd name="T60" fmla="*/ 3306 w 4321"/>
                <a:gd name="T61" fmla="*/ 332 h 14288"/>
                <a:gd name="T62" fmla="*/ 3366 w 4321"/>
                <a:gd name="T63" fmla="*/ 427 h 14288"/>
                <a:gd name="T64" fmla="*/ 3366 w 4321"/>
                <a:gd name="T65" fmla="*/ 1442 h 14288"/>
                <a:gd name="T66" fmla="*/ 3326 w 4321"/>
                <a:gd name="T67" fmla="*/ 1512 h 14288"/>
                <a:gd name="T68" fmla="*/ 3245 w 4321"/>
                <a:gd name="T69" fmla="*/ 1533 h 14288"/>
                <a:gd name="T70" fmla="*/ 3195 w 4321"/>
                <a:gd name="T71" fmla="*/ 1573 h 14288"/>
                <a:gd name="T72" fmla="*/ 3190 w 4321"/>
                <a:gd name="T73" fmla="*/ 1990 h 14288"/>
                <a:gd name="T74" fmla="*/ 3215 w 4321"/>
                <a:gd name="T75" fmla="*/ 2025 h 14288"/>
                <a:gd name="T76" fmla="*/ 3607 w 4321"/>
                <a:gd name="T77" fmla="*/ 2397 h 14288"/>
                <a:gd name="T78" fmla="*/ 3913 w 4321"/>
                <a:gd name="T79" fmla="*/ 2824 h 14288"/>
                <a:gd name="T80" fmla="*/ 4139 w 4321"/>
                <a:gd name="T81" fmla="*/ 3316 h 14288"/>
                <a:gd name="T82" fmla="*/ 4290 w 4321"/>
                <a:gd name="T83" fmla="*/ 3879 h 14288"/>
                <a:gd name="T84" fmla="*/ 4300 w 4321"/>
                <a:gd name="T85" fmla="*/ 4838 h 14288"/>
                <a:gd name="T86" fmla="*/ 4210 w 4321"/>
                <a:gd name="T87" fmla="*/ 5014 h 14288"/>
                <a:gd name="T88" fmla="*/ 4114 w 4321"/>
                <a:gd name="T89" fmla="*/ 5130 h 14288"/>
                <a:gd name="T90" fmla="*/ 4034 w 4321"/>
                <a:gd name="T91" fmla="*/ 5235 h 14288"/>
                <a:gd name="T92" fmla="*/ 4009 w 4321"/>
                <a:gd name="T93" fmla="*/ 5371 h 14288"/>
                <a:gd name="T94" fmla="*/ 4019 w 4321"/>
                <a:gd name="T95" fmla="*/ 5531 h 14288"/>
                <a:gd name="T96" fmla="*/ 4109 w 4321"/>
                <a:gd name="T97" fmla="*/ 5712 h 14288"/>
                <a:gd name="T98" fmla="*/ 4210 w 4321"/>
                <a:gd name="T99" fmla="*/ 5818 h 14288"/>
                <a:gd name="T100" fmla="*/ 4300 w 4321"/>
                <a:gd name="T101" fmla="*/ 5964 h 14288"/>
                <a:gd name="T102" fmla="*/ 4320 w 4321"/>
                <a:gd name="T103" fmla="*/ 13699 h 14288"/>
                <a:gd name="T104" fmla="*/ 4230 w 4321"/>
                <a:gd name="T105" fmla="*/ 13895 h 14288"/>
                <a:gd name="T106" fmla="*/ 4044 w 4321"/>
                <a:gd name="T107" fmla="*/ 14082 h 14288"/>
                <a:gd name="T108" fmla="*/ 3803 w 4321"/>
                <a:gd name="T109" fmla="*/ 14202 h 14288"/>
                <a:gd name="T110" fmla="*/ 2160 w 4321"/>
                <a:gd name="T111" fmla="*/ 14287 h 14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1" h="14288">
                  <a:moveTo>
                    <a:pt x="2160" y="14287"/>
                  </a:moveTo>
                  <a:lnTo>
                    <a:pt x="879" y="14287"/>
                  </a:lnTo>
                  <a:lnTo>
                    <a:pt x="879" y="14287"/>
                  </a:lnTo>
                  <a:lnTo>
                    <a:pt x="728" y="14262"/>
                  </a:lnTo>
                  <a:lnTo>
                    <a:pt x="587" y="14227"/>
                  </a:lnTo>
                  <a:lnTo>
                    <a:pt x="517" y="14202"/>
                  </a:lnTo>
                  <a:lnTo>
                    <a:pt x="452" y="14182"/>
                  </a:lnTo>
                  <a:lnTo>
                    <a:pt x="392" y="14152"/>
                  </a:lnTo>
                  <a:lnTo>
                    <a:pt x="331" y="14121"/>
                  </a:lnTo>
                  <a:lnTo>
                    <a:pt x="276" y="14082"/>
                  </a:lnTo>
                  <a:lnTo>
                    <a:pt x="221" y="14046"/>
                  </a:lnTo>
                  <a:lnTo>
                    <a:pt x="176" y="14001"/>
                  </a:lnTo>
                  <a:lnTo>
                    <a:pt x="131" y="13951"/>
                  </a:lnTo>
                  <a:lnTo>
                    <a:pt x="90" y="13895"/>
                  </a:lnTo>
                  <a:lnTo>
                    <a:pt x="55" y="13835"/>
                  </a:lnTo>
                  <a:lnTo>
                    <a:pt x="25" y="13770"/>
                  </a:lnTo>
                  <a:lnTo>
                    <a:pt x="0" y="13699"/>
                  </a:lnTo>
                  <a:lnTo>
                    <a:pt x="0" y="6099"/>
                  </a:lnTo>
                  <a:lnTo>
                    <a:pt x="0" y="6099"/>
                  </a:lnTo>
                  <a:lnTo>
                    <a:pt x="0" y="6054"/>
                  </a:lnTo>
                  <a:lnTo>
                    <a:pt x="10" y="6009"/>
                  </a:lnTo>
                  <a:lnTo>
                    <a:pt x="20" y="5964"/>
                  </a:lnTo>
                  <a:lnTo>
                    <a:pt x="35" y="5924"/>
                  </a:lnTo>
                  <a:lnTo>
                    <a:pt x="55" y="5883"/>
                  </a:lnTo>
                  <a:lnTo>
                    <a:pt x="80" y="5848"/>
                  </a:lnTo>
                  <a:lnTo>
                    <a:pt x="110" y="5818"/>
                  </a:lnTo>
                  <a:lnTo>
                    <a:pt x="140" y="5788"/>
                  </a:lnTo>
                  <a:lnTo>
                    <a:pt x="140" y="5788"/>
                  </a:lnTo>
                  <a:lnTo>
                    <a:pt x="176" y="5748"/>
                  </a:lnTo>
                  <a:lnTo>
                    <a:pt x="211" y="5712"/>
                  </a:lnTo>
                  <a:lnTo>
                    <a:pt x="241" y="5672"/>
                  </a:lnTo>
                  <a:lnTo>
                    <a:pt x="266" y="5627"/>
                  </a:lnTo>
                  <a:lnTo>
                    <a:pt x="286" y="5582"/>
                  </a:lnTo>
                  <a:lnTo>
                    <a:pt x="301" y="5531"/>
                  </a:lnTo>
                  <a:lnTo>
                    <a:pt x="306" y="5476"/>
                  </a:lnTo>
                  <a:lnTo>
                    <a:pt x="311" y="5421"/>
                  </a:lnTo>
                  <a:lnTo>
                    <a:pt x="311" y="5371"/>
                  </a:lnTo>
                  <a:lnTo>
                    <a:pt x="311" y="5371"/>
                  </a:lnTo>
                  <a:lnTo>
                    <a:pt x="311" y="5335"/>
                  </a:lnTo>
                  <a:lnTo>
                    <a:pt x="306" y="5301"/>
                  </a:lnTo>
                  <a:lnTo>
                    <a:pt x="296" y="5265"/>
                  </a:lnTo>
                  <a:lnTo>
                    <a:pt x="281" y="5235"/>
                  </a:lnTo>
                  <a:lnTo>
                    <a:pt x="266" y="5205"/>
                  </a:lnTo>
                  <a:lnTo>
                    <a:pt x="251" y="5180"/>
                  </a:lnTo>
                  <a:lnTo>
                    <a:pt x="231" y="5155"/>
                  </a:lnTo>
                  <a:lnTo>
                    <a:pt x="206" y="5130"/>
                  </a:lnTo>
                  <a:lnTo>
                    <a:pt x="206" y="5130"/>
                  </a:lnTo>
                  <a:lnTo>
                    <a:pt x="171" y="5100"/>
                  </a:lnTo>
                  <a:lnTo>
                    <a:pt x="140" y="5059"/>
                  </a:lnTo>
                  <a:lnTo>
                    <a:pt x="105" y="5014"/>
                  </a:lnTo>
                  <a:lnTo>
                    <a:pt x="75" y="4969"/>
                  </a:lnTo>
                  <a:lnTo>
                    <a:pt x="75" y="4969"/>
                  </a:lnTo>
                  <a:lnTo>
                    <a:pt x="45" y="4904"/>
                  </a:lnTo>
                  <a:lnTo>
                    <a:pt x="20" y="4838"/>
                  </a:lnTo>
                  <a:lnTo>
                    <a:pt x="5" y="4763"/>
                  </a:lnTo>
                  <a:lnTo>
                    <a:pt x="5" y="4687"/>
                  </a:lnTo>
                  <a:lnTo>
                    <a:pt x="30" y="3879"/>
                  </a:lnTo>
                  <a:lnTo>
                    <a:pt x="30" y="3879"/>
                  </a:lnTo>
                  <a:lnTo>
                    <a:pt x="60" y="3728"/>
                  </a:lnTo>
                  <a:lnTo>
                    <a:pt x="95" y="3588"/>
                  </a:lnTo>
                  <a:lnTo>
                    <a:pt x="135" y="3447"/>
                  </a:lnTo>
                  <a:lnTo>
                    <a:pt x="181" y="3316"/>
                  </a:lnTo>
                  <a:lnTo>
                    <a:pt x="226" y="3186"/>
                  </a:lnTo>
                  <a:lnTo>
                    <a:pt x="281" y="3060"/>
                  </a:lnTo>
                  <a:lnTo>
                    <a:pt x="341" y="2940"/>
                  </a:lnTo>
                  <a:lnTo>
                    <a:pt x="407" y="2824"/>
                  </a:lnTo>
                  <a:lnTo>
                    <a:pt x="477" y="2713"/>
                  </a:lnTo>
                  <a:lnTo>
                    <a:pt x="548" y="2603"/>
                  </a:lnTo>
                  <a:lnTo>
                    <a:pt x="628" y="2497"/>
                  </a:lnTo>
                  <a:lnTo>
                    <a:pt x="713" y="2397"/>
                  </a:lnTo>
                  <a:lnTo>
                    <a:pt x="804" y="2301"/>
                  </a:lnTo>
                  <a:lnTo>
                    <a:pt x="899" y="2206"/>
                  </a:lnTo>
                  <a:lnTo>
                    <a:pt x="1000" y="2115"/>
                  </a:lnTo>
                  <a:lnTo>
                    <a:pt x="1105" y="2025"/>
                  </a:lnTo>
                  <a:lnTo>
                    <a:pt x="1105" y="2025"/>
                  </a:lnTo>
                  <a:lnTo>
                    <a:pt x="1115" y="2015"/>
                  </a:lnTo>
                  <a:lnTo>
                    <a:pt x="1125" y="2005"/>
                  </a:lnTo>
                  <a:lnTo>
                    <a:pt x="1130" y="1990"/>
                  </a:lnTo>
                  <a:lnTo>
                    <a:pt x="1130" y="1975"/>
                  </a:lnTo>
                  <a:lnTo>
                    <a:pt x="1130" y="1598"/>
                  </a:lnTo>
                  <a:lnTo>
                    <a:pt x="1130" y="1598"/>
                  </a:lnTo>
                  <a:lnTo>
                    <a:pt x="1125" y="1573"/>
                  </a:lnTo>
                  <a:lnTo>
                    <a:pt x="1115" y="1553"/>
                  </a:lnTo>
                  <a:lnTo>
                    <a:pt x="1095" y="1537"/>
                  </a:lnTo>
                  <a:lnTo>
                    <a:pt x="1075" y="1533"/>
                  </a:lnTo>
                  <a:lnTo>
                    <a:pt x="1050" y="1533"/>
                  </a:lnTo>
                  <a:lnTo>
                    <a:pt x="1050" y="1533"/>
                  </a:lnTo>
                  <a:lnTo>
                    <a:pt x="1030" y="1528"/>
                  </a:lnTo>
                  <a:lnTo>
                    <a:pt x="1009" y="1523"/>
                  </a:lnTo>
                  <a:lnTo>
                    <a:pt x="995" y="1512"/>
                  </a:lnTo>
                  <a:lnTo>
                    <a:pt x="979" y="1498"/>
                  </a:lnTo>
                  <a:lnTo>
                    <a:pt x="970" y="1482"/>
                  </a:lnTo>
                  <a:lnTo>
                    <a:pt x="959" y="1462"/>
                  </a:lnTo>
                  <a:lnTo>
                    <a:pt x="954" y="1442"/>
                  </a:lnTo>
                  <a:lnTo>
                    <a:pt x="949" y="1417"/>
                  </a:lnTo>
                  <a:lnTo>
                    <a:pt x="949" y="467"/>
                  </a:lnTo>
                  <a:lnTo>
                    <a:pt x="949" y="467"/>
                  </a:lnTo>
                  <a:lnTo>
                    <a:pt x="954" y="427"/>
                  </a:lnTo>
                  <a:lnTo>
                    <a:pt x="970" y="392"/>
                  </a:lnTo>
                  <a:lnTo>
                    <a:pt x="989" y="357"/>
                  </a:lnTo>
                  <a:lnTo>
                    <a:pt x="1015" y="332"/>
                  </a:lnTo>
                  <a:lnTo>
                    <a:pt x="1015" y="332"/>
                  </a:lnTo>
                  <a:lnTo>
                    <a:pt x="1110" y="266"/>
                  </a:lnTo>
                  <a:lnTo>
                    <a:pt x="1210" y="206"/>
                  </a:lnTo>
                  <a:lnTo>
                    <a:pt x="1316" y="161"/>
                  </a:lnTo>
                  <a:lnTo>
                    <a:pt x="1426" y="121"/>
                  </a:lnTo>
                  <a:lnTo>
                    <a:pt x="1537" y="86"/>
                  </a:lnTo>
                  <a:lnTo>
                    <a:pt x="1652" y="61"/>
                  </a:lnTo>
                  <a:lnTo>
                    <a:pt x="1768" y="41"/>
                  </a:lnTo>
                  <a:lnTo>
                    <a:pt x="1889" y="20"/>
                  </a:lnTo>
                  <a:lnTo>
                    <a:pt x="1889" y="20"/>
                  </a:lnTo>
                  <a:lnTo>
                    <a:pt x="2024" y="5"/>
                  </a:lnTo>
                  <a:lnTo>
                    <a:pt x="2160" y="0"/>
                  </a:lnTo>
                  <a:lnTo>
                    <a:pt x="2296" y="5"/>
                  </a:lnTo>
                  <a:lnTo>
                    <a:pt x="2431" y="20"/>
                  </a:lnTo>
                  <a:lnTo>
                    <a:pt x="2431" y="20"/>
                  </a:lnTo>
                  <a:lnTo>
                    <a:pt x="2547" y="41"/>
                  </a:lnTo>
                  <a:lnTo>
                    <a:pt x="2667" y="61"/>
                  </a:lnTo>
                  <a:lnTo>
                    <a:pt x="2783" y="86"/>
                  </a:lnTo>
                  <a:lnTo>
                    <a:pt x="2893" y="121"/>
                  </a:lnTo>
                  <a:lnTo>
                    <a:pt x="3004" y="161"/>
                  </a:lnTo>
                  <a:lnTo>
                    <a:pt x="3110" y="206"/>
                  </a:lnTo>
                  <a:lnTo>
                    <a:pt x="3210" y="266"/>
                  </a:lnTo>
                  <a:lnTo>
                    <a:pt x="3306" y="332"/>
                  </a:lnTo>
                  <a:lnTo>
                    <a:pt x="3306" y="332"/>
                  </a:lnTo>
                  <a:lnTo>
                    <a:pt x="3331" y="357"/>
                  </a:lnTo>
                  <a:lnTo>
                    <a:pt x="3351" y="392"/>
                  </a:lnTo>
                  <a:lnTo>
                    <a:pt x="3366" y="427"/>
                  </a:lnTo>
                  <a:lnTo>
                    <a:pt x="3366" y="467"/>
                  </a:lnTo>
                  <a:lnTo>
                    <a:pt x="3366" y="1417"/>
                  </a:lnTo>
                  <a:lnTo>
                    <a:pt x="3366" y="1417"/>
                  </a:lnTo>
                  <a:lnTo>
                    <a:pt x="3366" y="1442"/>
                  </a:lnTo>
                  <a:lnTo>
                    <a:pt x="3361" y="1462"/>
                  </a:lnTo>
                  <a:lnTo>
                    <a:pt x="3351" y="1482"/>
                  </a:lnTo>
                  <a:lnTo>
                    <a:pt x="3340" y="1498"/>
                  </a:lnTo>
                  <a:lnTo>
                    <a:pt x="3326" y="1512"/>
                  </a:lnTo>
                  <a:lnTo>
                    <a:pt x="3306" y="1523"/>
                  </a:lnTo>
                  <a:lnTo>
                    <a:pt x="3290" y="1528"/>
                  </a:lnTo>
                  <a:lnTo>
                    <a:pt x="3270" y="1533"/>
                  </a:lnTo>
                  <a:lnTo>
                    <a:pt x="3245" y="1533"/>
                  </a:lnTo>
                  <a:lnTo>
                    <a:pt x="3245" y="1533"/>
                  </a:lnTo>
                  <a:lnTo>
                    <a:pt x="3225" y="1537"/>
                  </a:lnTo>
                  <a:lnTo>
                    <a:pt x="3205" y="1553"/>
                  </a:lnTo>
                  <a:lnTo>
                    <a:pt x="3195" y="1573"/>
                  </a:lnTo>
                  <a:lnTo>
                    <a:pt x="3190" y="1598"/>
                  </a:lnTo>
                  <a:lnTo>
                    <a:pt x="3190" y="1975"/>
                  </a:lnTo>
                  <a:lnTo>
                    <a:pt x="3190" y="1975"/>
                  </a:lnTo>
                  <a:lnTo>
                    <a:pt x="3190" y="1990"/>
                  </a:lnTo>
                  <a:lnTo>
                    <a:pt x="3195" y="2005"/>
                  </a:lnTo>
                  <a:lnTo>
                    <a:pt x="3205" y="2015"/>
                  </a:lnTo>
                  <a:lnTo>
                    <a:pt x="3215" y="2025"/>
                  </a:lnTo>
                  <a:lnTo>
                    <a:pt x="3215" y="2025"/>
                  </a:lnTo>
                  <a:lnTo>
                    <a:pt x="3320" y="2115"/>
                  </a:lnTo>
                  <a:lnTo>
                    <a:pt x="3421" y="2206"/>
                  </a:lnTo>
                  <a:lnTo>
                    <a:pt x="3516" y="2301"/>
                  </a:lnTo>
                  <a:lnTo>
                    <a:pt x="3607" y="2397"/>
                  </a:lnTo>
                  <a:lnTo>
                    <a:pt x="3692" y="2497"/>
                  </a:lnTo>
                  <a:lnTo>
                    <a:pt x="3767" y="2603"/>
                  </a:lnTo>
                  <a:lnTo>
                    <a:pt x="3843" y="2713"/>
                  </a:lnTo>
                  <a:lnTo>
                    <a:pt x="3913" y="2824"/>
                  </a:lnTo>
                  <a:lnTo>
                    <a:pt x="3979" y="2940"/>
                  </a:lnTo>
                  <a:lnTo>
                    <a:pt x="4039" y="3060"/>
                  </a:lnTo>
                  <a:lnTo>
                    <a:pt x="4089" y="3186"/>
                  </a:lnTo>
                  <a:lnTo>
                    <a:pt x="4139" y="3316"/>
                  </a:lnTo>
                  <a:lnTo>
                    <a:pt x="4184" y="3447"/>
                  </a:lnTo>
                  <a:lnTo>
                    <a:pt x="4225" y="3588"/>
                  </a:lnTo>
                  <a:lnTo>
                    <a:pt x="4260" y="3728"/>
                  </a:lnTo>
                  <a:lnTo>
                    <a:pt x="4290" y="3879"/>
                  </a:lnTo>
                  <a:lnTo>
                    <a:pt x="4315" y="4687"/>
                  </a:lnTo>
                  <a:lnTo>
                    <a:pt x="4315" y="4687"/>
                  </a:lnTo>
                  <a:lnTo>
                    <a:pt x="4315" y="4763"/>
                  </a:lnTo>
                  <a:lnTo>
                    <a:pt x="4300" y="4838"/>
                  </a:lnTo>
                  <a:lnTo>
                    <a:pt x="4275" y="4904"/>
                  </a:lnTo>
                  <a:lnTo>
                    <a:pt x="4245" y="4969"/>
                  </a:lnTo>
                  <a:lnTo>
                    <a:pt x="4245" y="4969"/>
                  </a:lnTo>
                  <a:lnTo>
                    <a:pt x="4210" y="5014"/>
                  </a:lnTo>
                  <a:lnTo>
                    <a:pt x="4180" y="5059"/>
                  </a:lnTo>
                  <a:lnTo>
                    <a:pt x="4150" y="5100"/>
                  </a:lnTo>
                  <a:lnTo>
                    <a:pt x="4114" y="5130"/>
                  </a:lnTo>
                  <a:lnTo>
                    <a:pt x="4114" y="5130"/>
                  </a:lnTo>
                  <a:lnTo>
                    <a:pt x="4089" y="5155"/>
                  </a:lnTo>
                  <a:lnTo>
                    <a:pt x="4069" y="5180"/>
                  </a:lnTo>
                  <a:lnTo>
                    <a:pt x="4049" y="5205"/>
                  </a:lnTo>
                  <a:lnTo>
                    <a:pt x="4034" y="5235"/>
                  </a:lnTo>
                  <a:lnTo>
                    <a:pt x="4024" y="5265"/>
                  </a:lnTo>
                  <a:lnTo>
                    <a:pt x="4013" y="5301"/>
                  </a:lnTo>
                  <a:lnTo>
                    <a:pt x="4009" y="5335"/>
                  </a:lnTo>
                  <a:lnTo>
                    <a:pt x="4009" y="5371"/>
                  </a:lnTo>
                  <a:lnTo>
                    <a:pt x="4009" y="5421"/>
                  </a:lnTo>
                  <a:lnTo>
                    <a:pt x="4009" y="5421"/>
                  </a:lnTo>
                  <a:lnTo>
                    <a:pt x="4009" y="5476"/>
                  </a:lnTo>
                  <a:lnTo>
                    <a:pt x="4019" y="5531"/>
                  </a:lnTo>
                  <a:lnTo>
                    <a:pt x="4034" y="5582"/>
                  </a:lnTo>
                  <a:lnTo>
                    <a:pt x="4054" y="5627"/>
                  </a:lnTo>
                  <a:lnTo>
                    <a:pt x="4079" y="5672"/>
                  </a:lnTo>
                  <a:lnTo>
                    <a:pt x="4109" y="5712"/>
                  </a:lnTo>
                  <a:lnTo>
                    <a:pt x="4144" y="5748"/>
                  </a:lnTo>
                  <a:lnTo>
                    <a:pt x="4180" y="5788"/>
                  </a:lnTo>
                  <a:lnTo>
                    <a:pt x="4180" y="5788"/>
                  </a:lnTo>
                  <a:lnTo>
                    <a:pt x="4210" y="5818"/>
                  </a:lnTo>
                  <a:lnTo>
                    <a:pt x="4240" y="5848"/>
                  </a:lnTo>
                  <a:lnTo>
                    <a:pt x="4265" y="5883"/>
                  </a:lnTo>
                  <a:lnTo>
                    <a:pt x="4285" y="5924"/>
                  </a:lnTo>
                  <a:lnTo>
                    <a:pt x="4300" y="5964"/>
                  </a:lnTo>
                  <a:lnTo>
                    <a:pt x="4310" y="6009"/>
                  </a:lnTo>
                  <a:lnTo>
                    <a:pt x="4320" y="6054"/>
                  </a:lnTo>
                  <a:lnTo>
                    <a:pt x="4320" y="6099"/>
                  </a:lnTo>
                  <a:lnTo>
                    <a:pt x="4320" y="13699"/>
                  </a:lnTo>
                  <a:lnTo>
                    <a:pt x="4320" y="13699"/>
                  </a:lnTo>
                  <a:lnTo>
                    <a:pt x="4295" y="13770"/>
                  </a:lnTo>
                  <a:lnTo>
                    <a:pt x="4265" y="13835"/>
                  </a:lnTo>
                  <a:lnTo>
                    <a:pt x="4230" y="13895"/>
                  </a:lnTo>
                  <a:lnTo>
                    <a:pt x="4189" y="13951"/>
                  </a:lnTo>
                  <a:lnTo>
                    <a:pt x="4144" y="14001"/>
                  </a:lnTo>
                  <a:lnTo>
                    <a:pt x="4099" y="14046"/>
                  </a:lnTo>
                  <a:lnTo>
                    <a:pt x="4044" y="14082"/>
                  </a:lnTo>
                  <a:lnTo>
                    <a:pt x="3988" y="14121"/>
                  </a:lnTo>
                  <a:lnTo>
                    <a:pt x="3929" y="14152"/>
                  </a:lnTo>
                  <a:lnTo>
                    <a:pt x="3868" y="14182"/>
                  </a:lnTo>
                  <a:lnTo>
                    <a:pt x="3803" y="14202"/>
                  </a:lnTo>
                  <a:lnTo>
                    <a:pt x="3732" y="14227"/>
                  </a:lnTo>
                  <a:lnTo>
                    <a:pt x="3591" y="14262"/>
                  </a:lnTo>
                  <a:lnTo>
                    <a:pt x="3441" y="14287"/>
                  </a:lnTo>
                  <a:lnTo>
                    <a:pt x="2160" y="14287"/>
                  </a:lnTo>
                </a:path>
              </a:pathLst>
            </a:custGeom>
            <a:noFill/>
            <a:ln w="12700">
              <a:solidFill>
                <a:schemeClr val="bg1">
                  <a:alpha val="30000"/>
                </a:schemeClr>
              </a:solidFill>
            </a:ln>
            <a:effectLst/>
          </p:spPr>
          <p:txBody>
            <a:bodyPr wrap="none" anchor="ctr"/>
            <a:lstStyle/>
            <a:p>
              <a:endParaRPr lang="en-US" sz="1709"/>
            </a:p>
          </p:txBody>
        </p:sp>
        <p:sp>
          <p:nvSpPr>
            <p:cNvPr id="11" name="Freeform 10">
              <a:extLst>
                <a:ext uri="{FF2B5EF4-FFF2-40B4-BE49-F238E27FC236}">
                  <a16:creationId xmlns:a16="http://schemas.microsoft.com/office/drawing/2014/main" id="{D553E484-C7EF-C14F-8178-2A696F3D3D60}"/>
                </a:ext>
              </a:extLst>
            </p:cNvPr>
            <p:cNvSpPr>
              <a:spLocks noChangeArrowheads="1"/>
            </p:cNvSpPr>
            <p:nvPr/>
          </p:nvSpPr>
          <p:spPr bwMode="auto">
            <a:xfrm>
              <a:off x="7386949" y="1702899"/>
              <a:ext cx="1027013" cy="3956563"/>
            </a:xfrm>
            <a:custGeom>
              <a:avLst/>
              <a:gdLst>
                <a:gd name="T0" fmla="*/ 532 w 4064"/>
                <a:gd name="T1" fmla="*/ 15664 h 15665"/>
                <a:gd name="T2" fmla="*/ 366 w 4064"/>
                <a:gd name="T3" fmla="*/ 15654 h 15665"/>
                <a:gd name="T4" fmla="*/ 240 w 4064"/>
                <a:gd name="T5" fmla="*/ 15604 h 15665"/>
                <a:gd name="T6" fmla="*/ 140 w 4064"/>
                <a:gd name="T7" fmla="*/ 15524 h 15665"/>
                <a:gd name="T8" fmla="*/ 39 w 4064"/>
                <a:gd name="T9" fmla="*/ 15383 h 15665"/>
                <a:gd name="T10" fmla="*/ 29 w 4064"/>
                <a:gd name="T11" fmla="*/ 5452 h 15665"/>
                <a:gd name="T12" fmla="*/ 34 w 4064"/>
                <a:gd name="T13" fmla="*/ 4698 h 15665"/>
                <a:gd name="T14" fmla="*/ 70 w 4064"/>
                <a:gd name="T15" fmla="*/ 4055 h 15665"/>
                <a:gd name="T16" fmla="*/ 115 w 4064"/>
                <a:gd name="T17" fmla="*/ 3688 h 15665"/>
                <a:gd name="T18" fmla="*/ 346 w 4064"/>
                <a:gd name="T19" fmla="*/ 3125 h 15665"/>
                <a:gd name="T20" fmla="*/ 637 w 4064"/>
                <a:gd name="T21" fmla="*/ 2603 h 15665"/>
                <a:gd name="T22" fmla="*/ 858 w 4064"/>
                <a:gd name="T23" fmla="*/ 2272 h 15665"/>
                <a:gd name="T24" fmla="*/ 878 w 4064"/>
                <a:gd name="T25" fmla="*/ 1739 h 15665"/>
                <a:gd name="T26" fmla="*/ 863 w 4064"/>
                <a:gd name="T27" fmla="*/ 1679 h 15665"/>
                <a:gd name="T28" fmla="*/ 778 w 4064"/>
                <a:gd name="T29" fmla="*/ 1623 h 15665"/>
                <a:gd name="T30" fmla="*/ 723 w 4064"/>
                <a:gd name="T31" fmla="*/ 1588 h 15665"/>
                <a:gd name="T32" fmla="*/ 688 w 4064"/>
                <a:gd name="T33" fmla="*/ 1498 h 15665"/>
                <a:gd name="T34" fmla="*/ 673 w 4064"/>
                <a:gd name="T35" fmla="*/ 1382 h 15665"/>
                <a:gd name="T36" fmla="*/ 657 w 4064"/>
                <a:gd name="T37" fmla="*/ 609 h 15665"/>
                <a:gd name="T38" fmla="*/ 673 w 4064"/>
                <a:gd name="T39" fmla="*/ 312 h 15665"/>
                <a:gd name="T40" fmla="*/ 718 w 4064"/>
                <a:gd name="T41" fmla="*/ 167 h 15665"/>
                <a:gd name="T42" fmla="*/ 813 w 4064"/>
                <a:gd name="T43" fmla="*/ 76 h 15665"/>
                <a:gd name="T44" fmla="*/ 894 w 4064"/>
                <a:gd name="T45" fmla="*/ 51 h 15665"/>
                <a:gd name="T46" fmla="*/ 1752 w 4064"/>
                <a:gd name="T47" fmla="*/ 5 h 15665"/>
                <a:gd name="T48" fmla="*/ 2607 w 4064"/>
                <a:gd name="T49" fmla="*/ 16 h 15665"/>
                <a:gd name="T50" fmla="*/ 3169 w 4064"/>
                <a:gd name="T51" fmla="*/ 51 h 15665"/>
                <a:gd name="T52" fmla="*/ 3285 w 4064"/>
                <a:gd name="T53" fmla="*/ 96 h 15665"/>
                <a:gd name="T54" fmla="*/ 3365 w 4064"/>
                <a:gd name="T55" fmla="*/ 212 h 15665"/>
                <a:gd name="T56" fmla="*/ 3385 w 4064"/>
                <a:gd name="T57" fmla="*/ 312 h 15665"/>
                <a:gd name="T58" fmla="*/ 3405 w 4064"/>
                <a:gd name="T59" fmla="*/ 885 h 15665"/>
                <a:gd name="T60" fmla="*/ 3385 w 4064"/>
                <a:gd name="T61" fmla="*/ 1382 h 15665"/>
                <a:gd name="T62" fmla="*/ 3365 w 4064"/>
                <a:gd name="T63" fmla="*/ 1533 h 15665"/>
                <a:gd name="T64" fmla="*/ 3315 w 4064"/>
                <a:gd name="T65" fmla="*/ 1608 h 15665"/>
                <a:gd name="T66" fmla="*/ 3234 w 4064"/>
                <a:gd name="T67" fmla="*/ 1638 h 15665"/>
                <a:gd name="T68" fmla="*/ 3184 w 4064"/>
                <a:gd name="T69" fmla="*/ 1709 h 15665"/>
                <a:gd name="T70" fmla="*/ 3179 w 4064"/>
                <a:gd name="T71" fmla="*/ 2201 h 15665"/>
                <a:gd name="T72" fmla="*/ 3205 w 4064"/>
                <a:gd name="T73" fmla="*/ 2272 h 15665"/>
                <a:gd name="T74" fmla="*/ 3526 w 4064"/>
                <a:gd name="T75" fmla="*/ 2774 h 15665"/>
                <a:gd name="T76" fmla="*/ 3797 w 4064"/>
                <a:gd name="T77" fmla="*/ 3306 h 15665"/>
                <a:gd name="T78" fmla="*/ 3948 w 4064"/>
                <a:gd name="T79" fmla="*/ 3688 h 15665"/>
                <a:gd name="T80" fmla="*/ 4008 w 4064"/>
                <a:gd name="T81" fmla="*/ 4256 h 15665"/>
                <a:gd name="T82" fmla="*/ 4033 w 4064"/>
                <a:gd name="T83" fmla="*/ 4939 h 15665"/>
                <a:gd name="T84" fmla="*/ 4063 w 4064"/>
                <a:gd name="T85" fmla="*/ 15297 h 15665"/>
                <a:gd name="T86" fmla="*/ 3973 w 4064"/>
                <a:gd name="T87" fmla="*/ 15453 h 15665"/>
                <a:gd name="T88" fmla="*/ 3893 w 4064"/>
                <a:gd name="T89" fmla="*/ 15554 h 15665"/>
                <a:gd name="T90" fmla="*/ 3782 w 4064"/>
                <a:gd name="T91" fmla="*/ 15624 h 15665"/>
                <a:gd name="T92" fmla="*/ 3641 w 4064"/>
                <a:gd name="T93" fmla="*/ 15659 h 15665"/>
                <a:gd name="T94" fmla="*/ 3466 w 4064"/>
                <a:gd name="T95" fmla="*/ 15659 h 15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64" h="15665">
                  <a:moveTo>
                    <a:pt x="597" y="15659"/>
                  </a:moveTo>
                  <a:lnTo>
                    <a:pt x="597" y="15659"/>
                  </a:lnTo>
                  <a:lnTo>
                    <a:pt x="532" y="15664"/>
                  </a:lnTo>
                  <a:lnTo>
                    <a:pt x="472" y="15664"/>
                  </a:lnTo>
                  <a:lnTo>
                    <a:pt x="416" y="15659"/>
                  </a:lnTo>
                  <a:lnTo>
                    <a:pt x="366" y="15654"/>
                  </a:lnTo>
                  <a:lnTo>
                    <a:pt x="321" y="15639"/>
                  </a:lnTo>
                  <a:lnTo>
                    <a:pt x="281" y="15624"/>
                  </a:lnTo>
                  <a:lnTo>
                    <a:pt x="240" y="15604"/>
                  </a:lnTo>
                  <a:lnTo>
                    <a:pt x="205" y="15579"/>
                  </a:lnTo>
                  <a:lnTo>
                    <a:pt x="170" y="15554"/>
                  </a:lnTo>
                  <a:lnTo>
                    <a:pt x="140" y="15524"/>
                  </a:lnTo>
                  <a:lnTo>
                    <a:pt x="110" y="15488"/>
                  </a:lnTo>
                  <a:lnTo>
                    <a:pt x="84" y="15453"/>
                  </a:lnTo>
                  <a:lnTo>
                    <a:pt x="39" y="15383"/>
                  </a:lnTo>
                  <a:lnTo>
                    <a:pt x="0" y="15297"/>
                  </a:lnTo>
                  <a:lnTo>
                    <a:pt x="29" y="5452"/>
                  </a:lnTo>
                  <a:lnTo>
                    <a:pt x="29" y="5452"/>
                  </a:lnTo>
                  <a:lnTo>
                    <a:pt x="25" y="5190"/>
                  </a:lnTo>
                  <a:lnTo>
                    <a:pt x="29" y="4939"/>
                  </a:lnTo>
                  <a:lnTo>
                    <a:pt x="34" y="4698"/>
                  </a:lnTo>
                  <a:lnTo>
                    <a:pt x="39" y="4472"/>
                  </a:lnTo>
                  <a:lnTo>
                    <a:pt x="55" y="4256"/>
                  </a:lnTo>
                  <a:lnTo>
                    <a:pt x="70" y="4055"/>
                  </a:lnTo>
                  <a:lnTo>
                    <a:pt x="90" y="3864"/>
                  </a:lnTo>
                  <a:lnTo>
                    <a:pt x="115" y="3688"/>
                  </a:lnTo>
                  <a:lnTo>
                    <a:pt x="115" y="3688"/>
                  </a:lnTo>
                  <a:lnTo>
                    <a:pt x="185" y="3497"/>
                  </a:lnTo>
                  <a:lnTo>
                    <a:pt x="260" y="3306"/>
                  </a:lnTo>
                  <a:lnTo>
                    <a:pt x="346" y="3125"/>
                  </a:lnTo>
                  <a:lnTo>
                    <a:pt x="436" y="2950"/>
                  </a:lnTo>
                  <a:lnTo>
                    <a:pt x="537" y="2774"/>
                  </a:lnTo>
                  <a:lnTo>
                    <a:pt x="637" y="2603"/>
                  </a:lnTo>
                  <a:lnTo>
                    <a:pt x="748" y="2437"/>
                  </a:lnTo>
                  <a:lnTo>
                    <a:pt x="858" y="2272"/>
                  </a:lnTo>
                  <a:lnTo>
                    <a:pt x="858" y="2272"/>
                  </a:lnTo>
                  <a:lnTo>
                    <a:pt x="873" y="2241"/>
                  </a:lnTo>
                  <a:lnTo>
                    <a:pt x="878" y="2201"/>
                  </a:lnTo>
                  <a:lnTo>
                    <a:pt x="878" y="1739"/>
                  </a:lnTo>
                  <a:lnTo>
                    <a:pt x="878" y="1739"/>
                  </a:lnTo>
                  <a:lnTo>
                    <a:pt x="878" y="1709"/>
                  </a:lnTo>
                  <a:lnTo>
                    <a:pt x="863" y="1679"/>
                  </a:lnTo>
                  <a:lnTo>
                    <a:pt x="848" y="1654"/>
                  </a:lnTo>
                  <a:lnTo>
                    <a:pt x="823" y="1638"/>
                  </a:lnTo>
                  <a:lnTo>
                    <a:pt x="778" y="1623"/>
                  </a:lnTo>
                  <a:lnTo>
                    <a:pt x="778" y="1623"/>
                  </a:lnTo>
                  <a:lnTo>
                    <a:pt x="748" y="1608"/>
                  </a:lnTo>
                  <a:lnTo>
                    <a:pt x="723" y="1588"/>
                  </a:lnTo>
                  <a:lnTo>
                    <a:pt x="707" y="1563"/>
                  </a:lnTo>
                  <a:lnTo>
                    <a:pt x="693" y="1533"/>
                  </a:lnTo>
                  <a:lnTo>
                    <a:pt x="688" y="1498"/>
                  </a:lnTo>
                  <a:lnTo>
                    <a:pt x="682" y="1463"/>
                  </a:lnTo>
                  <a:lnTo>
                    <a:pt x="673" y="1382"/>
                  </a:lnTo>
                  <a:lnTo>
                    <a:pt x="673" y="1382"/>
                  </a:lnTo>
                  <a:lnTo>
                    <a:pt x="662" y="1141"/>
                  </a:lnTo>
                  <a:lnTo>
                    <a:pt x="657" y="885"/>
                  </a:lnTo>
                  <a:lnTo>
                    <a:pt x="657" y="609"/>
                  </a:lnTo>
                  <a:lnTo>
                    <a:pt x="662" y="463"/>
                  </a:lnTo>
                  <a:lnTo>
                    <a:pt x="673" y="312"/>
                  </a:lnTo>
                  <a:lnTo>
                    <a:pt x="673" y="312"/>
                  </a:lnTo>
                  <a:lnTo>
                    <a:pt x="682" y="262"/>
                  </a:lnTo>
                  <a:lnTo>
                    <a:pt x="698" y="212"/>
                  </a:lnTo>
                  <a:lnTo>
                    <a:pt x="718" y="167"/>
                  </a:lnTo>
                  <a:lnTo>
                    <a:pt x="743" y="131"/>
                  </a:lnTo>
                  <a:lnTo>
                    <a:pt x="773" y="96"/>
                  </a:lnTo>
                  <a:lnTo>
                    <a:pt x="813" y="76"/>
                  </a:lnTo>
                  <a:lnTo>
                    <a:pt x="848" y="56"/>
                  </a:lnTo>
                  <a:lnTo>
                    <a:pt x="894" y="51"/>
                  </a:lnTo>
                  <a:lnTo>
                    <a:pt x="894" y="51"/>
                  </a:lnTo>
                  <a:lnTo>
                    <a:pt x="1180" y="31"/>
                  </a:lnTo>
                  <a:lnTo>
                    <a:pt x="1466" y="16"/>
                  </a:lnTo>
                  <a:lnTo>
                    <a:pt x="1752" y="5"/>
                  </a:lnTo>
                  <a:lnTo>
                    <a:pt x="2039" y="0"/>
                  </a:lnTo>
                  <a:lnTo>
                    <a:pt x="2325" y="5"/>
                  </a:lnTo>
                  <a:lnTo>
                    <a:pt x="2607" y="16"/>
                  </a:lnTo>
                  <a:lnTo>
                    <a:pt x="2888" y="31"/>
                  </a:lnTo>
                  <a:lnTo>
                    <a:pt x="3169" y="51"/>
                  </a:lnTo>
                  <a:lnTo>
                    <a:pt x="3169" y="51"/>
                  </a:lnTo>
                  <a:lnTo>
                    <a:pt x="3209" y="56"/>
                  </a:lnTo>
                  <a:lnTo>
                    <a:pt x="3250" y="76"/>
                  </a:lnTo>
                  <a:lnTo>
                    <a:pt x="3285" y="96"/>
                  </a:lnTo>
                  <a:lnTo>
                    <a:pt x="3315" y="131"/>
                  </a:lnTo>
                  <a:lnTo>
                    <a:pt x="3345" y="167"/>
                  </a:lnTo>
                  <a:lnTo>
                    <a:pt x="3365" y="212"/>
                  </a:lnTo>
                  <a:lnTo>
                    <a:pt x="3380" y="262"/>
                  </a:lnTo>
                  <a:lnTo>
                    <a:pt x="3385" y="312"/>
                  </a:lnTo>
                  <a:lnTo>
                    <a:pt x="3385" y="312"/>
                  </a:lnTo>
                  <a:lnTo>
                    <a:pt x="3395" y="463"/>
                  </a:lnTo>
                  <a:lnTo>
                    <a:pt x="3401" y="609"/>
                  </a:lnTo>
                  <a:lnTo>
                    <a:pt x="3405" y="885"/>
                  </a:lnTo>
                  <a:lnTo>
                    <a:pt x="3401" y="1141"/>
                  </a:lnTo>
                  <a:lnTo>
                    <a:pt x="3385" y="1382"/>
                  </a:lnTo>
                  <a:lnTo>
                    <a:pt x="3385" y="1382"/>
                  </a:lnTo>
                  <a:lnTo>
                    <a:pt x="3380" y="1463"/>
                  </a:lnTo>
                  <a:lnTo>
                    <a:pt x="3375" y="1498"/>
                  </a:lnTo>
                  <a:lnTo>
                    <a:pt x="3365" y="1533"/>
                  </a:lnTo>
                  <a:lnTo>
                    <a:pt x="3355" y="1563"/>
                  </a:lnTo>
                  <a:lnTo>
                    <a:pt x="3335" y="1588"/>
                  </a:lnTo>
                  <a:lnTo>
                    <a:pt x="3315" y="1608"/>
                  </a:lnTo>
                  <a:lnTo>
                    <a:pt x="3285" y="1623"/>
                  </a:lnTo>
                  <a:lnTo>
                    <a:pt x="3234" y="1638"/>
                  </a:lnTo>
                  <a:lnTo>
                    <a:pt x="3234" y="1638"/>
                  </a:lnTo>
                  <a:lnTo>
                    <a:pt x="3214" y="1654"/>
                  </a:lnTo>
                  <a:lnTo>
                    <a:pt x="3194" y="1679"/>
                  </a:lnTo>
                  <a:lnTo>
                    <a:pt x="3184" y="1709"/>
                  </a:lnTo>
                  <a:lnTo>
                    <a:pt x="3179" y="1739"/>
                  </a:lnTo>
                  <a:lnTo>
                    <a:pt x="3179" y="2201"/>
                  </a:lnTo>
                  <a:lnTo>
                    <a:pt x="3179" y="2201"/>
                  </a:lnTo>
                  <a:lnTo>
                    <a:pt x="3184" y="2241"/>
                  </a:lnTo>
                  <a:lnTo>
                    <a:pt x="3205" y="2272"/>
                  </a:lnTo>
                  <a:lnTo>
                    <a:pt x="3205" y="2272"/>
                  </a:lnTo>
                  <a:lnTo>
                    <a:pt x="3315" y="2437"/>
                  </a:lnTo>
                  <a:lnTo>
                    <a:pt x="3421" y="2603"/>
                  </a:lnTo>
                  <a:lnTo>
                    <a:pt x="3526" y="2774"/>
                  </a:lnTo>
                  <a:lnTo>
                    <a:pt x="3622" y="2950"/>
                  </a:lnTo>
                  <a:lnTo>
                    <a:pt x="3712" y="3125"/>
                  </a:lnTo>
                  <a:lnTo>
                    <a:pt x="3797" y="3306"/>
                  </a:lnTo>
                  <a:lnTo>
                    <a:pt x="3878" y="3497"/>
                  </a:lnTo>
                  <a:lnTo>
                    <a:pt x="3948" y="3688"/>
                  </a:lnTo>
                  <a:lnTo>
                    <a:pt x="3948" y="3688"/>
                  </a:lnTo>
                  <a:lnTo>
                    <a:pt x="3973" y="3864"/>
                  </a:lnTo>
                  <a:lnTo>
                    <a:pt x="3988" y="4055"/>
                  </a:lnTo>
                  <a:lnTo>
                    <a:pt x="4008" y="4256"/>
                  </a:lnTo>
                  <a:lnTo>
                    <a:pt x="4018" y="4472"/>
                  </a:lnTo>
                  <a:lnTo>
                    <a:pt x="4028" y="4698"/>
                  </a:lnTo>
                  <a:lnTo>
                    <a:pt x="4033" y="4939"/>
                  </a:lnTo>
                  <a:lnTo>
                    <a:pt x="4033" y="5190"/>
                  </a:lnTo>
                  <a:lnTo>
                    <a:pt x="4033" y="5452"/>
                  </a:lnTo>
                  <a:lnTo>
                    <a:pt x="4063" y="15297"/>
                  </a:lnTo>
                  <a:lnTo>
                    <a:pt x="4063" y="15297"/>
                  </a:lnTo>
                  <a:lnTo>
                    <a:pt x="4023" y="15383"/>
                  </a:lnTo>
                  <a:lnTo>
                    <a:pt x="3973" y="15453"/>
                  </a:lnTo>
                  <a:lnTo>
                    <a:pt x="3948" y="15488"/>
                  </a:lnTo>
                  <a:lnTo>
                    <a:pt x="3923" y="15524"/>
                  </a:lnTo>
                  <a:lnTo>
                    <a:pt x="3893" y="15554"/>
                  </a:lnTo>
                  <a:lnTo>
                    <a:pt x="3857" y="15579"/>
                  </a:lnTo>
                  <a:lnTo>
                    <a:pt x="3823" y="15604"/>
                  </a:lnTo>
                  <a:lnTo>
                    <a:pt x="3782" y="15624"/>
                  </a:lnTo>
                  <a:lnTo>
                    <a:pt x="3737" y="15639"/>
                  </a:lnTo>
                  <a:lnTo>
                    <a:pt x="3692" y="15654"/>
                  </a:lnTo>
                  <a:lnTo>
                    <a:pt x="3641" y="15659"/>
                  </a:lnTo>
                  <a:lnTo>
                    <a:pt x="3586" y="15664"/>
                  </a:lnTo>
                  <a:lnTo>
                    <a:pt x="3531" y="15664"/>
                  </a:lnTo>
                  <a:lnTo>
                    <a:pt x="3466" y="15659"/>
                  </a:lnTo>
                  <a:lnTo>
                    <a:pt x="597" y="15659"/>
                  </a:lnTo>
                </a:path>
              </a:pathLst>
            </a:custGeom>
            <a:noFill/>
            <a:ln w="12700">
              <a:solidFill>
                <a:schemeClr val="bg1">
                  <a:alpha val="30000"/>
                </a:schemeClr>
              </a:solidFill>
            </a:ln>
            <a:effectLst/>
          </p:spPr>
          <p:txBody>
            <a:bodyPr wrap="none" anchor="ctr"/>
            <a:lstStyle/>
            <a:p>
              <a:endParaRPr lang="en-US" sz="1709"/>
            </a:p>
          </p:txBody>
        </p:sp>
        <p:sp>
          <p:nvSpPr>
            <p:cNvPr id="12" name="Freeform 11">
              <a:extLst>
                <a:ext uri="{FF2B5EF4-FFF2-40B4-BE49-F238E27FC236}">
                  <a16:creationId xmlns:a16="http://schemas.microsoft.com/office/drawing/2014/main" id="{8BC78292-2A03-F04A-A6D1-332228F8707F}"/>
                </a:ext>
              </a:extLst>
            </p:cNvPr>
            <p:cNvSpPr>
              <a:spLocks noChangeArrowheads="1"/>
            </p:cNvSpPr>
            <p:nvPr/>
          </p:nvSpPr>
          <p:spPr bwMode="auto">
            <a:xfrm>
              <a:off x="4987615" y="1249543"/>
              <a:ext cx="1285437" cy="4573662"/>
            </a:xfrm>
            <a:custGeom>
              <a:avLst/>
              <a:gdLst>
                <a:gd name="T0" fmla="*/ 693 w 5090"/>
                <a:gd name="T1" fmla="*/ 18085 h 18106"/>
                <a:gd name="T2" fmla="*/ 357 w 5090"/>
                <a:gd name="T3" fmla="*/ 17965 h 18106"/>
                <a:gd name="T4" fmla="*/ 116 w 5090"/>
                <a:gd name="T5" fmla="*/ 17739 h 18106"/>
                <a:gd name="T6" fmla="*/ 20 w 5090"/>
                <a:gd name="T7" fmla="*/ 16734 h 18106"/>
                <a:gd name="T8" fmla="*/ 71 w 5090"/>
                <a:gd name="T9" fmla="*/ 16608 h 18106"/>
                <a:gd name="T10" fmla="*/ 20 w 5090"/>
                <a:gd name="T11" fmla="*/ 16397 h 18106"/>
                <a:gd name="T12" fmla="*/ 136 w 5090"/>
                <a:gd name="T13" fmla="*/ 14704 h 18106"/>
                <a:gd name="T14" fmla="*/ 397 w 5090"/>
                <a:gd name="T15" fmla="*/ 13111 h 18106"/>
                <a:gd name="T16" fmla="*/ 447 w 5090"/>
                <a:gd name="T17" fmla="*/ 11243 h 18106"/>
                <a:gd name="T18" fmla="*/ 277 w 5090"/>
                <a:gd name="T19" fmla="*/ 9274 h 18106"/>
                <a:gd name="T20" fmla="*/ 91 w 5090"/>
                <a:gd name="T21" fmla="*/ 8164 h 18106"/>
                <a:gd name="T22" fmla="*/ 0 w 5090"/>
                <a:gd name="T23" fmla="*/ 6983 h 18106"/>
                <a:gd name="T24" fmla="*/ 61 w 5090"/>
                <a:gd name="T25" fmla="*/ 5813 h 18106"/>
                <a:gd name="T26" fmla="*/ 216 w 5090"/>
                <a:gd name="T27" fmla="*/ 5004 h 18106"/>
                <a:gd name="T28" fmla="*/ 478 w 5090"/>
                <a:gd name="T29" fmla="*/ 4476 h 18106"/>
                <a:gd name="T30" fmla="*/ 830 w 5090"/>
                <a:gd name="T31" fmla="*/ 3994 h 18106"/>
                <a:gd name="T32" fmla="*/ 1277 w 5090"/>
                <a:gd name="T33" fmla="*/ 3547 h 18106"/>
                <a:gd name="T34" fmla="*/ 1252 w 5090"/>
                <a:gd name="T35" fmla="*/ 3276 h 18106"/>
                <a:gd name="T36" fmla="*/ 1106 w 5090"/>
                <a:gd name="T37" fmla="*/ 3125 h 18106"/>
                <a:gd name="T38" fmla="*/ 1065 w 5090"/>
                <a:gd name="T39" fmla="*/ 2311 h 18106"/>
                <a:gd name="T40" fmla="*/ 1126 w 5090"/>
                <a:gd name="T41" fmla="*/ 1793 h 18106"/>
                <a:gd name="T42" fmla="*/ 1201 w 5090"/>
                <a:gd name="T43" fmla="*/ 1618 h 18106"/>
                <a:gd name="T44" fmla="*/ 1537 w 5090"/>
                <a:gd name="T45" fmla="*/ 1597 h 18106"/>
                <a:gd name="T46" fmla="*/ 1573 w 5090"/>
                <a:gd name="T47" fmla="*/ 1351 h 18106"/>
                <a:gd name="T48" fmla="*/ 1668 w 5090"/>
                <a:gd name="T49" fmla="*/ 1161 h 18106"/>
                <a:gd name="T50" fmla="*/ 1764 w 5090"/>
                <a:gd name="T51" fmla="*/ 935 h 18106"/>
                <a:gd name="T52" fmla="*/ 1738 w 5090"/>
                <a:gd name="T53" fmla="*/ 327 h 18106"/>
                <a:gd name="T54" fmla="*/ 1779 w 5090"/>
                <a:gd name="T55" fmla="*/ 46 h 18106"/>
                <a:gd name="T56" fmla="*/ 2543 w 5090"/>
                <a:gd name="T57" fmla="*/ 0 h 18106"/>
                <a:gd name="T58" fmla="*/ 3286 w 5090"/>
                <a:gd name="T59" fmla="*/ 20 h 18106"/>
                <a:gd name="T60" fmla="*/ 3336 w 5090"/>
                <a:gd name="T61" fmla="*/ 201 h 18106"/>
                <a:gd name="T62" fmla="*/ 3341 w 5090"/>
                <a:gd name="T63" fmla="*/ 814 h 18106"/>
                <a:gd name="T64" fmla="*/ 3387 w 5090"/>
                <a:gd name="T65" fmla="*/ 1125 h 18106"/>
                <a:gd name="T66" fmla="*/ 3507 w 5090"/>
                <a:gd name="T67" fmla="*/ 1312 h 18106"/>
                <a:gd name="T68" fmla="*/ 3532 w 5090"/>
                <a:gd name="T69" fmla="*/ 1588 h 18106"/>
                <a:gd name="T70" fmla="*/ 3869 w 5090"/>
                <a:gd name="T71" fmla="*/ 1608 h 18106"/>
                <a:gd name="T72" fmla="*/ 3939 w 5090"/>
                <a:gd name="T73" fmla="*/ 1723 h 18106"/>
                <a:gd name="T74" fmla="*/ 4010 w 5090"/>
                <a:gd name="T75" fmla="*/ 2125 h 18106"/>
                <a:gd name="T76" fmla="*/ 3979 w 5090"/>
                <a:gd name="T77" fmla="*/ 3125 h 18106"/>
                <a:gd name="T78" fmla="*/ 3859 w 5090"/>
                <a:gd name="T79" fmla="*/ 3240 h 18106"/>
                <a:gd name="T80" fmla="*/ 3814 w 5090"/>
                <a:gd name="T81" fmla="*/ 3547 h 18106"/>
                <a:gd name="T82" fmla="*/ 4175 w 5090"/>
                <a:gd name="T83" fmla="*/ 3903 h 18106"/>
                <a:gd name="T84" fmla="*/ 4547 w 5090"/>
                <a:gd name="T85" fmla="*/ 4376 h 18106"/>
                <a:gd name="T86" fmla="*/ 4828 w 5090"/>
                <a:gd name="T87" fmla="*/ 4893 h 18106"/>
                <a:gd name="T88" fmla="*/ 4994 w 5090"/>
                <a:gd name="T89" fmla="*/ 5577 h 18106"/>
                <a:gd name="T90" fmla="*/ 5089 w 5090"/>
                <a:gd name="T91" fmla="*/ 6752 h 18106"/>
                <a:gd name="T92" fmla="*/ 5029 w 5090"/>
                <a:gd name="T93" fmla="*/ 7928 h 18106"/>
                <a:gd name="T94" fmla="*/ 4868 w 5090"/>
                <a:gd name="T95" fmla="*/ 8872 h 18106"/>
                <a:gd name="T96" fmla="*/ 4658 w 5090"/>
                <a:gd name="T97" fmla="*/ 10855 h 18106"/>
                <a:gd name="T98" fmla="*/ 4662 w 5090"/>
                <a:gd name="T99" fmla="*/ 12745 h 18106"/>
                <a:gd name="T100" fmla="*/ 4913 w 5090"/>
                <a:gd name="T101" fmla="*/ 14533 h 18106"/>
                <a:gd name="T102" fmla="*/ 5064 w 5090"/>
                <a:gd name="T103" fmla="*/ 16397 h 18106"/>
                <a:gd name="T104" fmla="*/ 5014 w 5090"/>
                <a:gd name="T105" fmla="*/ 16563 h 18106"/>
                <a:gd name="T106" fmla="*/ 5069 w 5090"/>
                <a:gd name="T107" fmla="*/ 16734 h 18106"/>
                <a:gd name="T108" fmla="*/ 5004 w 5090"/>
                <a:gd name="T109" fmla="*/ 17673 h 18106"/>
                <a:gd name="T110" fmla="*/ 4788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3" y="18105"/>
                  </a:moveTo>
                  <a:lnTo>
                    <a:pt x="855" y="18105"/>
                  </a:lnTo>
                  <a:lnTo>
                    <a:pt x="855" y="18105"/>
                  </a:lnTo>
                  <a:lnTo>
                    <a:pt x="774" y="18095"/>
                  </a:lnTo>
                  <a:lnTo>
                    <a:pt x="693" y="18085"/>
                  </a:lnTo>
                  <a:lnTo>
                    <a:pt x="623" y="18070"/>
                  </a:lnTo>
                  <a:lnTo>
                    <a:pt x="548" y="18050"/>
                  </a:lnTo>
                  <a:lnTo>
                    <a:pt x="483" y="18025"/>
                  </a:lnTo>
                  <a:lnTo>
                    <a:pt x="417" y="18000"/>
                  </a:lnTo>
                  <a:lnTo>
                    <a:pt x="357" y="17965"/>
                  </a:lnTo>
                  <a:lnTo>
                    <a:pt x="302" y="17929"/>
                  </a:lnTo>
                  <a:lnTo>
                    <a:pt x="246" y="17889"/>
                  </a:lnTo>
                  <a:lnTo>
                    <a:pt x="201" y="17844"/>
                  </a:lnTo>
                  <a:lnTo>
                    <a:pt x="156" y="17794"/>
                  </a:lnTo>
                  <a:lnTo>
                    <a:pt x="116" y="17739"/>
                  </a:lnTo>
                  <a:lnTo>
                    <a:pt x="86" y="17673"/>
                  </a:lnTo>
                  <a:lnTo>
                    <a:pt x="56" y="17608"/>
                  </a:lnTo>
                  <a:lnTo>
                    <a:pt x="36" y="17532"/>
                  </a:lnTo>
                  <a:lnTo>
                    <a:pt x="20" y="17452"/>
                  </a:lnTo>
                  <a:lnTo>
                    <a:pt x="20" y="16734"/>
                  </a:lnTo>
                  <a:lnTo>
                    <a:pt x="20" y="16729"/>
                  </a:lnTo>
                  <a:lnTo>
                    <a:pt x="20" y="16729"/>
                  </a:lnTo>
                  <a:lnTo>
                    <a:pt x="46" y="16688"/>
                  </a:lnTo>
                  <a:lnTo>
                    <a:pt x="61" y="16649"/>
                  </a:lnTo>
                  <a:lnTo>
                    <a:pt x="71" y="16608"/>
                  </a:lnTo>
                  <a:lnTo>
                    <a:pt x="71" y="16563"/>
                  </a:lnTo>
                  <a:lnTo>
                    <a:pt x="71" y="16523"/>
                  </a:lnTo>
                  <a:lnTo>
                    <a:pt x="61" y="16478"/>
                  </a:lnTo>
                  <a:lnTo>
                    <a:pt x="46" y="16437"/>
                  </a:lnTo>
                  <a:lnTo>
                    <a:pt x="20" y="16397"/>
                  </a:lnTo>
                  <a:lnTo>
                    <a:pt x="20" y="16397"/>
                  </a:lnTo>
                  <a:lnTo>
                    <a:pt x="20" y="15508"/>
                  </a:lnTo>
                  <a:lnTo>
                    <a:pt x="91" y="14875"/>
                  </a:lnTo>
                  <a:lnTo>
                    <a:pt x="91" y="14875"/>
                  </a:lnTo>
                  <a:lnTo>
                    <a:pt x="136" y="14704"/>
                  </a:lnTo>
                  <a:lnTo>
                    <a:pt x="176" y="14533"/>
                  </a:lnTo>
                  <a:lnTo>
                    <a:pt x="246" y="14181"/>
                  </a:lnTo>
                  <a:lnTo>
                    <a:pt x="307" y="13830"/>
                  </a:lnTo>
                  <a:lnTo>
                    <a:pt x="357" y="13474"/>
                  </a:lnTo>
                  <a:lnTo>
                    <a:pt x="397" y="13111"/>
                  </a:lnTo>
                  <a:lnTo>
                    <a:pt x="428" y="12745"/>
                  </a:lnTo>
                  <a:lnTo>
                    <a:pt x="447" y="12378"/>
                  </a:lnTo>
                  <a:lnTo>
                    <a:pt x="458" y="12001"/>
                  </a:lnTo>
                  <a:lnTo>
                    <a:pt x="458" y="11624"/>
                  </a:lnTo>
                  <a:lnTo>
                    <a:pt x="447" y="11243"/>
                  </a:lnTo>
                  <a:lnTo>
                    <a:pt x="433" y="10855"/>
                  </a:lnTo>
                  <a:lnTo>
                    <a:pt x="402" y="10464"/>
                  </a:lnTo>
                  <a:lnTo>
                    <a:pt x="372" y="10072"/>
                  </a:lnTo>
                  <a:lnTo>
                    <a:pt x="327" y="9676"/>
                  </a:lnTo>
                  <a:lnTo>
                    <a:pt x="277" y="9274"/>
                  </a:lnTo>
                  <a:lnTo>
                    <a:pt x="221" y="8872"/>
                  </a:lnTo>
                  <a:lnTo>
                    <a:pt x="221" y="8872"/>
                  </a:lnTo>
                  <a:lnTo>
                    <a:pt x="171" y="8636"/>
                  </a:lnTo>
                  <a:lnTo>
                    <a:pt x="126" y="8400"/>
                  </a:lnTo>
                  <a:lnTo>
                    <a:pt x="91" y="8164"/>
                  </a:lnTo>
                  <a:lnTo>
                    <a:pt x="61" y="7928"/>
                  </a:lnTo>
                  <a:lnTo>
                    <a:pt x="36" y="7692"/>
                  </a:lnTo>
                  <a:lnTo>
                    <a:pt x="16" y="7455"/>
                  </a:lnTo>
                  <a:lnTo>
                    <a:pt x="6" y="7220"/>
                  </a:lnTo>
                  <a:lnTo>
                    <a:pt x="0" y="6983"/>
                  </a:lnTo>
                  <a:lnTo>
                    <a:pt x="0" y="6752"/>
                  </a:lnTo>
                  <a:lnTo>
                    <a:pt x="6" y="6516"/>
                  </a:lnTo>
                  <a:lnTo>
                    <a:pt x="16" y="6280"/>
                  </a:lnTo>
                  <a:lnTo>
                    <a:pt x="36" y="6049"/>
                  </a:lnTo>
                  <a:lnTo>
                    <a:pt x="61" y="5813"/>
                  </a:lnTo>
                  <a:lnTo>
                    <a:pt x="96" y="5577"/>
                  </a:lnTo>
                  <a:lnTo>
                    <a:pt x="131" y="5345"/>
                  </a:lnTo>
                  <a:lnTo>
                    <a:pt x="176" y="5110"/>
                  </a:lnTo>
                  <a:lnTo>
                    <a:pt x="176" y="5110"/>
                  </a:lnTo>
                  <a:lnTo>
                    <a:pt x="216" y="5004"/>
                  </a:lnTo>
                  <a:lnTo>
                    <a:pt x="262" y="4893"/>
                  </a:lnTo>
                  <a:lnTo>
                    <a:pt x="307" y="4788"/>
                  </a:lnTo>
                  <a:lnTo>
                    <a:pt x="362" y="4682"/>
                  </a:lnTo>
                  <a:lnTo>
                    <a:pt x="417" y="4577"/>
                  </a:lnTo>
                  <a:lnTo>
                    <a:pt x="478" y="4476"/>
                  </a:lnTo>
                  <a:lnTo>
                    <a:pt x="538" y="4376"/>
                  </a:lnTo>
                  <a:lnTo>
                    <a:pt x="609" y="4280"/>
                  </a:lnTo>
                  <a:lnTo>
                    <a:pt x="679" y="4185"/>
                  </a:lnTo>
                  <a:lnTo>
                    <a:pt x="754" y="4090"/>
                  </a:lnTo>
                  <a:lnTo>
                    <a:pt x="830" y="3994"/>
                  </a:lnTo>
                  <a:lnTo>
                    <a:pt x="915" y="3903"/>
                  </a:lnTo>
                  <a:lnTo>
                    <a:pt x="1000" y="3813"/>
                  </a:lnTo>
                  <a:lnTo>
                    <a:pt x="1090" y="3723"/>
                  </a:lnTo>
                  <a:lnTo>
                    <a:pt x="1181" y="3632"/>
                  </a:lnTo>
                  <a:lnTo>
                    <a:pt x="1277" y="3547"/>
                  </a:lnTo>
                  <a:lnTo>
                    <a:pt x="1277" y="3401"/>
                  </a:lnTo>
                  <a:lnTo>
                    <a:pt x="1277" y="3401"/>
                  </a:lnTo>
                  <a:lnTo>
                    <a:pt x="1271" y="3356"/>
                  </a:lnTo>
                  <a:lnTo>
                    <a:pt x="1266" y="3316"/>
                  </a:lnTo>
                  <a:lnTo>
                    <a:pt x="1252" y="3276"/>
                  </a:lnTo>
                  <a:lnTo>
                    <a:pt x="1231" y="3240"/>
                  </a:lnTo>
                  <a:lnTo>
                    <a:pt x="1206" y="3205"/>
                  </a:lnTo>
                  <a:lnTo>
                    <a:pt x="1176" y="3175"/>
                  </a:lnTo>
                  <a:lnTo>
                    <a:pt x="1146" y="3145"/>
                  </a:lnTo>
                  <a:lnTo>
                    <a:pt x="1106" y="3125"/>
                  </a:lnTo>
                  <a:lnTo>
                    <a:pt x="1106" y="3125"/>
                  </a:lnTo>
                  <a:lnTo>
                    <a:pt x="1086" y="2914"/>
                  </a:lnTo>
                  <a:lnTo>
                    <a:pt x="1076" y="2708"/>
                  </a:lnTo>
                  <a:lnTo>
                    <a:pt x="1065" y="2502"/>
                  </a:lnTo>
                  <a:lnTo>
                    <a:pt x="1065" y="2311"/>
                  </a:lnTo>
                  <a:lnTo>
                    <a:pt x="1076" y="2125"/>
                  </a:lnTo>
                  <a:lnTo>
                    <a:pt x="1086" y="2040"/>
                  </a:lnTo>
                  <a:lnTo>
                    <a:pt x="1096" y="1955"/>
                  </a:lnTo>
                  <a:lnTo>
                    <a:pt x="1111" y="1874"/>
                  </a:lnTo>
                  <a:lnTo>
                    <a:pt x="1126" y="1793"/>
                  </a:lnTo>
                  <a:lnTo>
                    <a:pt x="1146" y="1723"/>
                  </a:lnTo>
                  <a:lnTo>
                    <a:pt x="1171" y="1653"/>
                  </a:lnTo>
                  <a:lnTo>
                    <a:pt x="1171" y="1653"/>
                  </a:lnTo>
                  <a:lnTo>
                    <a:pt x="1181" y="1633"/>
                  </a:lnTo>
                  <a:lnTo>
                    <a:pt x="1201" y="1618"/>
                  </a:lnTo>
                  <a:lnTo>
                    <a:pt x="1221" y="1608"/>
                  </a:lnTo>
                  <a:lnTo>
                    <a:pt x="1241" y="1603"/>
                  </a:lnTo>
                  <a:lnTo>
                    <a:pt x="1512" y="1603"/>
                  </a:lnTo>
                  <a:lnTo>
                    <a:pt x="1512" y="1603"/>
                  </a:lnTo>
                  <a:lnTo>
                    <a:pt x="1537" y="1597"/>
                  </a:lnTo>
                  <a:lnTo>
                    <a:pt x="1553" y="1588"/>
                  </a:lnTo>
                  <a:lnTo>
                    <a:pt x="1568" y="1567"/>
                  </a:lnTo>
                  <a:lnTo>
                    <a:pt x="1573" y="1542"/>
                  </a:lnTo>
                  <a:lnTo>
                    <a:pt x="1573" y="1351"/>
                  </a:lnTo>
                  <a:lnTo>
                    <a:pt x="1573" y="1351"/>
                  </a:lnTo>
                  <a:lnTo>
                    <a:pt x="1578" y="1312"/>
                  </a:lnTo>
                  <a:lnTo>
                    <a:pt x="1593" y="1271"/>
                  </a:lnTo>
                  <a:lnTo>
                    <a:pt x="1613" y="1236"/>
                  </a:lnTo>
                  <a:lnTo>
                    <a:pt x="1638" y="1196"/>
                  </a:lnTo>
                  <a:lnTo>
                    <a:pt x="1668" y="1161"/>
                  </a:lnTo>
                  <a:lnTo>
                    <a:pt x="1704" y="1125"/>
                  </a:lnTo>
                  <a:lnTo>
                    <a:pt x="1738" y="1090"/>
                  </a:lnTo>
                  <a:lnTo>
                    <a:pt x="1784" y="1055"/>
                  </a:lnTo>
                  <a:lnTo>
                    <a:pt x="1784" y="1055"/>
                  </a:lnTo>
                  <a:lnTo>
                    <a:pt x="1764" y="935"/>
                  </a:lnTo>
                  <a:lnTo>
                    <a:pt x="1744" y="814"/>
                  </a:lnTo>
                  <a:lnTo>
                    <a:pt x="1734" y="694"/>
                  </a:lnTo>
                  <a:lnTo>
                    <a:pt x="1729" y="568"/>
                  </a:lnTo>
                  <a:lnTo>
                    <a:pt x="1734" y="447"/>
                  </a:lnTo>
                  <a:lnTo>
                    <a:pt x="1738" y="327"/>
                  </a:lnTo>
                  <a:lnTo>
                    <a:pt x="1749" y="201"/>
                  </a:lnTo>
                  <a:lnTo>
                    <a:pt x="1769" y="80"/>
                  </a:lnTo>
                  <a:lnTo>
                    <a:pt x="1769" y="80"/>
                  </a:lnTo>
                  <a:lnTo>
                    <a:pt x="1774" y="60"/>
                  </a:lnTo>
                  <a:lnTo>
                    <a:pt x="1779" y="46"/>
                  </a:lnTo>
                  <a:lnTo>
                    <a:pt x="1804" y="20"/>
                  </a:lnTo>
                  <a:lnTo>
                    <a:pt x="1829" y="5"/>
                  </a:lnTo>
                  <a:lnTo>
                    <a:pt x="1849" y="0"/>
                  </a:lnTo>
                  <a:lnTo>
                    <a:pt x="1864" y="0"/>
                  </a:lnTo>
                  <a:lnTo>
                    <a:pt x="2543" y="0"/>
                  </a:lnTo>
                  <a:lnTo>
                    <a:pt x="3221" y="0"/>
                  </a:lnTo>
                  <a:lnTo>
                    <a:pt x="3221" y="0"/>
                  </a:lnTo>
                  <a:lnTo>
                    <a:pt x="3241" y="0"/>
                  </a:lnTo>
                  <a:lnTo>
                    <a:pt x="3256" y="5"/>
                  </a:lnTo>
                  <a:lnTo>
                    <a:pt x="3286" y="20"/>
                  </a:lnTo>
                  <a:lnTo>
                    <a:pt x="3306" y="46"/>
                  </a:lnTo>
                  <a:lnTo>
                    <a:pt x="3316" y="60"/>
                  </a:lnTo>
                  <a:lnTo>
                    <a:pt x="3321" y="80"/>
                  </a:lnTo>
                  <a:lnTo>
                    <a:pt x="3321" y="80"/>
                  </a:lnTo>
                  <a:lnTo>
                    <a:pt x="3336" y="201"/>
                  </a:lnTo>
                  <a:lnTo>
                    <a:pt x="3351" y="327"/>
                  </a:lnTo>
                  <a:lnTo>
                    <a:pt x="3356" y="447"/>
                  </a:lnTo>
                  <a:lnTo>
                    <a:pt x="3356" y="568"/>
                  </a:lnTo>
                  <a:lnTo>
                    <a:pt x="3351" y="694"/>
                  </a:lnTo>
                  <a:lnTo>
                    <a:pt x="3341" y="814"/>
                  </a:lnTo>
                  <a:lnTo>
                    <a:pt x="3326" y="935"/>
                  </a:lnTo>
                  <a:lnTo>
                    <a:pt x="3306" y="1055"/>
                  </a:lnTo>
                  <a:lnTo>
                    <a:pt x="3306" y="1055"/>
                  </a:lnTo>
                  <a:lnTo>
                    <a:pt x="3346" y="1090"/>
                  </a:lnTo>
                  <a:lnTo>
                    <a:pt x="3387" y="1125"/>
                  </a:lnTo>
                  <a:lnTo>
                    <a:pt x="3421" y="1161"/>
                  </a:lnTo>
                  <a:lnTo>
                    <a:pt x="3452" y="1196"/>
                  </a:lnTo>
                  <a:lnTo>
                    <a:pt x="3477" y="1236"/>
                  </a:lnTo>
                  <a:lnTo>
                    <a:pt x="3497" y="1271"/>
                  </a:lnTo>
                  <a:lnTo>
                    <a:pt x="3507" y="1312"/>
                  </a:lnTo>
                  <a:lnTo>
                    <a:pt x="3517" y="1351"/>
                  </a:lnTo>
                  <a:lnTo>
                    <a:pt x="3517" y="1542"/>
                  </a:lnTo>
                  <a:lnTo>
                    <a:pt x="3517" y="1542"/>
                  </a:lnTo>
                  <a:lnTo>
                    <a:pt x="3522" y="1567"/>
                  </a:lnTo>
                  <a:lnTo>
                    <a:pt x="3532" y="1588"/>
                  </a:lnTo>
                  <a:lnTo>
                    <a:pt x="3552" y="1597"/>
                  </a:lnTo>
                  <a:lnTo>
                    <a:pt x="3577" y="1603"/>
                  </a:lnTo>
                  <a:lnTo>
                    <a:pt x="3843" y="1603"/>
                  </a:lnTo>
                  <a:lnTo>
                    <a:pt x="3843" y="1603"/>
                  </a:lnTo>
                  <a:lnTo>
                    <a:pt x="3869" y="1608"/>
                  </a:lnTo>
                  <a:lnTo>
                    <a:pt x="3889" y="1618"/>
                  </a:lnTo>
                  <a:lnTo>
                    <a:pt x="3904" y="1633"/>
                  </a:lnTo>
                  <a:lnTo>
                    <a:pt x="3919" y="1653"/>
                  </a:lnTo>
                  <a:lnTo>
                    <a:pt x="3919" y="1653"/>
                  </a:lnTo>
                  <a:lnTo>
                    <a:pt x="3939" y="1723"/>
                  </a:lnTo>
                  <a:lnTo>
                    <a:pt x="3959" y="1793"/>
                  </a:lnTo>
                  <a:lnTo>
                    <a:pt x="3979" y="1874"/>
                  </a:lnTo>
                  <a:lnTo>
                    <a:pt x="3989" y="1955"/>
                  </a:lnTo>
                  <a:lnTo>
                    <a:pt x="4004" y="2040"/>
                  </a:lnTo>
                  <a:lnTo>
                    <a:pt x="4010" y="2125"/>
                  </a:lnTo>
                  <a:lnTo>
                    <a:pt x="4019" y="2311"/>
                  </a:lnTo>
                  <a:lnTo>
                    <a:pt x="4019" y="2502"/>
                  </a:lnTo>
                  <a:lnTo>
                    <a:pt x="4014" y="2708"/>
                  </a:lnTo>
                  <a:lnTo>
                    <a:pt x="3999" y="2914"/>
                  </a:lnTo>
                  <a:lnTo>
                    <a:pt x="3979" y="3125"/>
                  </a:lnTo>
                  <a:lnTo>
                    <a:pt x="3979" y="3125"/>
                  </a:lnTo>
                  <a:lnTo>
                    <a:pt x="3944" y="3145"/>
                  </a:lnTo>
                  <a:lnTo>
                    <a:pt x="3909" y="3175"/>
                  </a:lnTo>
                  <a:lnTo>
                    <a:pt x="3884" y="3205"/>
                  </a:lnTo>
                  <a:lnTo>
                    <a:pt x="3859" y="3240"/>
                  </a:lnTo>
                  <a:lnTo>
                    <a:pt x="3839" y="3276"/>
                  </a:lnTo>
                  <a:lnTo>
                    <a:pt x="3823" y="3316"/>
                  </a:lnTo>
                  <a:lnTo>
                    <a:pt x="3814" y="3356"/>
                  </a:lnTo>
                  <a:lnTo>
                    <a:pt x="3814" y="3401"/>
                  </a:lnTo>
                  <a:lnTo>
                    <a:pt x="3814" y="3547"/>
                  </a:lnTo>
                  <a:lnTo>
                    <a:pt x="3814" y="3547"/>
                  </a:lnTo>
                  <a:lnTo>
                    <a:pt x="3909" y="3632"/>
                  </a:lnTo>
                  <a:lnTo>
                    <a:pt x="3999" y="3723"/>
                  </a:lnTo>
                  <a:lnTo>
                    <a:pt x="4090" y="3813"/>
                  </a:lnTo>
                  <a:lnTo>
                    <a:pt x="4175" y="3903"/>
                  </a:lnTo>
                  <a:lnTo>
                    <a:pt x="4256" y="3994"/>
                  </a:lnTo>
                  <a:lnTo>
                    <a:pt x="4336" y="4090"/>
                  </a:lnTo>
                  <a:lnTo>
                    <a:pt x="4411" y="4185"/>
                  </a:lnTo>
                  <a:lnTo>
                    <a:pt x="4482" y="4280"/>
                  </a:lnTo>
                  <a:lnTo>
                    <a:pt x="4547" y="4376"/>
                  </a:lnTo>
                  <a:lnTo>
                    <a:pt x="4612" y="4476"/>
                  </a:lnTo>
                  <a:lnTo>
                    <a:pt x="4673" y="4577"/>
                  </a:lnTo>
                  <a:lnTo>
                    <a:pt x="4728" y="4682"/>
                  </a:lnTo>
                  <a:lnTo>
                    <a:pt x="4778" y="4788"/>
                  </a:lnTo>
                  <a:lnTo>
                    <a:pt x="4828" y="4893"/>
                  </a:lnTo>
                  <a:lnTo>
                    <a:pt x="4874" y="5004"/>
                  </a:lnTo>
                  <a:lnTo>
                    <a:pt x="4909" y="5110"/>
                  </a:lnTo>
                  <a:lnTo>
                    <a:pt x="4909" y="5110"/>
                  </a:lnTo>
                  <a:lnTo>
                    <a:pt x="4954" y="5345"/>
                  </a:lnTo>
                  <a:lnTo>
                    <a:pt x="4994" y="5577"/>
                  </a:lnTo>
                  <a:lnTo>
                    <a:pt x="5024" y="5813"/>
                  </a:lnTo>
                  <a:lnTo>
                    <a:pt x="5050" y="6049"/>
                  </a:lnTo>
                  <a:lnTo>
                    <a:pt x="5069" y="6280"/>
                  </a:lnTo>
                  <a:lnTo>
                    <a:pt x="5084" y="6516"/>
                  </a:lnTo>
                  <a:lnTo>
                    <a:pt x="5089" y="6752"/>
                  </a:lnTo>
                  <a:lnTo>
                    <a:pt x="5089" y="6983"/>
                  </a:lnTo>
                  <a:lnTo>
                    <a:pt x="5084" y="7220"/>
                  </a:lnTo>
                  <a:lnTo>
                    <a:pt x="5075" y="7455"/>
                  </a:lnTo>
                  <a:lnTo>
                    <a:pt x="5054" y="7692"/>
                  </a:lnTo>
                  <a:lnTo>
                    <a:pt x="5029" y="7928"/>
                  </a:lnTo>
                  <a:lnTo>
                    <a:pt x="4999" y="8164"/>
                  </a:lnTo>
                  <a:lnTo>
                    <a:pt x="4959" y="8400"/>
                  </a:lnTo>
                  <a:lnTo>
                    <a:pt x="4919" y="8636"/>
                  </a:lnTo>
                  <a:lnTo>
                    <a:pt x="4868" y="8872"/>
                  </a:lnTo>
                  <a:lnTo>
                    <a:pt x="4868" y="8872"/>
                  </a:lnTo>
                  <a:lnTo>
                    <a:pt x="4813" y="9274"/>
                  </a:lnTo>
                  <a:lnTo>
                    <a:pt x="4763" y="9676"/>
                  </a:lnTo>
                  <a:lnTo>
                    <a:pt x="4718" y="10072"/>
                  </a:lnTo>
                  <a:lnTo>
                    <a:pt x="4683" y="10464"/>
                  </a:lnTo>
                  <a:lnTo>
                    <a:pt x="4658" y="10855"/>
                  </a:lnTo>
                  <a:lnTo>
                    <a:pt x="4637" y="11243"/>
                  </a:lnTo>
                  <a:lnTo>
                    <a:pt x="4632" y="11624"/>
                  </a:lnTo>
                  <a:lnTo>
                    <a:pt x="4632" y="12001"/>
                  </a:lnTo>
                  <a:lnTo>
                    <a:pt x="4642" y="12378"/>
                  </a:lnTo>
                  <a:lnTo>
                    <a:pt x="4662" y="12745"/>
                  </a:lnTo>
                  <a:lnTo>
                    <a:pt x="4687" y="13111"/>
                  </a:lnTo>
                  <a:lnTo>
                    <a:pt x="4728" y="13474"/>
                  </a:lnTo>
                  <a:lnTo>
                    <a:pt x="4778" y="13830"/>
                  </a:lnTo>
                  <a:lnTo>
                    <a:pt x="4838" y="14181"/>
                  </a:lnTo>
                  <a:lnTo>
                    <a:pt x="4913" y="14533"/>
                  </a:lnTo>
                  <a:lnTo>
                    <a:pt x="4954" y="14704"/>
                  </a:lnTo>
                  <a:lnTo>
                    <a:pt x="4994" y="14875"/>
                  </a:lnTo>
                  <a:lnTo>
                    <a:pt x="5069" y="15508"/>
                  </a:lnTo>
                  <a:lnTo>
                    <a:pt x="5069" y="16397"/>
                  </a:lnTo>
                  <a:lnTo>
                    <a:pt x="5064" y="16397"/>
                  </a:lnTo>
                  <a:lnTo>
                    <a:pt x="5064" y="16397"/>
                  </a:lnTo>
                  <a:lnTo>
                    <a:pt x="5044" y="16437"/>
                  </a:lnTo>
                  <a:lnTo>
                    <a:pt x="5029" y="16478"/>
                  </a:lnTo>
                  <a:lnTo>
                    <a:pt x="5019" y="16523"/>
                  </a:lnTo>
                  <a:lnTo>
                    <a:pt x="5014" y="16563"/>
                  </a:lnTo>
                  <a:lnTo>
                    <a:pt x="5019" y="16608"/>
                  </a:lnTo>
                  <a:lnTo>
                    <a:pt x="5029" y="16649"/>
                  </a:lnTo>
                  <a:lnTo>
                    <a:pt x="5044" y="16688"/>
                  </a:lnTo>
                  <a:lnTo>
                    <a:pt x="5064" y="16729"/>
                  </a:lnTo>
                  <a:lnTo>
                    <a:pt x="5069" y="16734"/>
                  </a:lnTo>
                  <a:lnTo>
                    <a:pt x="5069" y="17452"/>
                  </a:lnTo>
                  <a:lnTo>
                    <a:pt x="5069" y="17452"/>
                  </a:lnTo>
                  <a:lnTo>
                    <a:pt x="5054" y="17532"/>
                  </a:lnTo>
                  <a:lnTo>
                    <a:pt x="5029" y="17608"/>
                  </a:lnTo>
                  <a:lnTo>
                    <a:pt x="5004" y="17673"/>
                  </a:lnTo>
                  <a:lnTo>
                    <a:pt x="4969" y="17739"/>
                  </a:lnTo>
                  <a:lnTo>
                    <a:pt x="4934" y="17794"/>
                  </a:lnTo>
                  <a:lnTo>
                    <a:pt x="4888" y="17844"/>
                  </a:lnTo>
                  <a:lnTo>
                    <a:pt x="4843" y="17889"/>
                  </a:lnTo>
                  <a:lnTo>
                    <a:pt x="4788" y="17929"/>
                  </a:lnTo>
                  <a:lnTo>
                    <a:pt x="4733" y="17965"/>
                  </a:lnTo>
                  <a:lnTo>
                    <a:pt x="4673" y="18000"/>
                  </a:lnTo>
                  <a:lnTo>
                    <a:pt x="4607" y="18025"/>
                  </a:lnTo>
                  <a:lnTo>
                    <a:pt x="4537" y="18050"/>
                  </a:lnTo>
                  <a:lnTo>
                    <a:pt x="4466" y="18070"/>
                  </a:lnTo>
                  <a:lnTo>
                    <a:pt x="4391" y="18085"/>
                  </a:lnTo>
                  <a:lnTo>
                    <a:pt x="4316" y="18095"/>
                  </a:lnTo>
                  <a:lnTo>
                    <a:pt x="4236" y="18105"/>
                  </a:lnTo>
                  <a:lnTo>
                    <a:pt x="2543" y="18105"/>
                  </a:lnTo>
                </a:path>
              </a:pathLst>
            </a:custGeom>
            <a:noFill/>
            <a:ln w="12700">
              <a:solidFill>
                <a:schemeClr val="bg1">
                  <a:alpha val="30000"/>
                </a:schemeClr>
              </a:solidFill>
            </a:ln>
            <a:effectLst/>
          </p:spPr>
          <p:txBody>
            <a:bodyPr wrap="none" anchor="ctr"/>
            <a:lstStyle/>
            <a:p>
              <a:endParaRPr lang="en-US" sz="1709"/>
            </a:p>
          </p:txBody>
        </p:sp>
        <p:sp>
          <p:nvSpPr>
            <p:cNvPr id="13" name="Freeform 12">
              <a:extLst>
                <a:ext uri="{FF2B5EF4-FFF2-40B4-BE49-F238E27FC236}">
                  <a16:creationId xmlns:a16="http://schemas.microsoft.com/office/drawing/2014/main" id="{2FA31B68-7DCE-0C4E-8B34-96D1EADE7536}"/>
                </a:ext>
              </a:extLst>
            </p:cNvPr>
            <p:cNvSpPr>
              <a:spLocks noChangeArrowheads="1"/>
            </p:cNvSpPr>
            <p:nvPr/>
          </p:nvSpPr>
          <p:spPr bwMode="auto">
            <a:xfrm>
              <a:off x="6505857" y="1249543"/>
              <a:ext cx="1285437" cy="4573662"/>
            </a:xfrm>
            <a:custGeom>
              <a:avLst/>
              <a:gdLst>
                <a:gd name="T0" fmla="*/ 698 w 5090"/>
                <a:gd name="T1" fmla="*/ 18085 h 18106"/>
                <a:gd name="T2" fmla="*/ 357 w 5090"/>
                <a:gd name="T3" fmla="*/ 17965 h 18106"/>
                <a:gd name="T4" fmla="*/ 120 w 5090"/>
                <a:gd name="T5" fmla="*/ 17739 h 18106"/>
                <a:gd name="T6" fmla="*/ 20 w 5090"/>
                <a:gd name="T7" fmla="*/ 16734 h 18106"/>
                <a:gd name="T8" fmla="*/ 70 w 5090"/>
                <a:gd name="T9" fmla="*/ 16608 h 18106"/>
                <a:gd name="T10" fmla="*/ 20 w 5090"/>
                <a:gd name="T11" fmla="*/ 16397 h 18106"/>
                <a:gd name="T12" fmla="*/ 136 w 5090"/>
                <a:gd name="T13" fmla="*/ 14704 h 18106"/>
                <a:gd name="T14" fmla="*/ 396 w 5090"/>
                <a:gd name="T15" fmla="*/ 13111 h 18106"/>
                <a:gd name="T16" fmla="*/ 447 w 5090"/>
                <a:gd name="T17" fmla="*/ 11243 h 18106"/>
                <a:gd name="T18" fmla="*/ 276 w 5090"/>
                <a:gd name="T19" fmla="*/ 9274 h 18106"/>
                <a:gd name="T20" fmla="*/ 90 w 5090"/>
                <a:gd name="T21" fmla="*/ 8164 h 18106"/>
                <a:gd name="T22" fmla="*/ 0 w 5090"/>
                <a:gd name="T23" fmla="*/ 6983 h 18106"/>
                <a:gd name="T24" fmla="*/ 60 w 5090"/>
                <a:gd name="T25" fmla="*/ 5813 h 18106"/>
                <a:gd name="T26" fmla="*/ 216 w 5090"/>
                <a:gd name="T27" fmla="*/ 5004 h 18106"/>
                <a:gd name="T28" fmla="*/ 477 w 5090"/>
                <a:gd name="T29" fmla="*/ 4476 h 18106"/>
                <a:gd name="T30" fmla="*/ 834 w 5090"/>
                <a:gd name="T31" fmla="*/ 3994 h 18106"/>
                <a:gd name="T32" fmla="*/ 1276 w 5090"/>
                <a:gd name="T33" fmla="*/ 3547 h 18106"/>
                <a:gd name="T34" fmla="*/ 1251 w 5090"/>
                <a:gd name="T35" fmla="*/ 3276 h 18106"/>
                <a:gd name="T36" fmla="*/ 1105 w 5090"/>
                <a:gd name="T37" fmla="*/ 3125 h 18106"/>
                <a:gd name="T38" fmla="*/ 1070 w 5090"/>
                <a:gd name="T39" fmla="*/ 2311 h 18106"/>
                <a:gd name="T40" fmla="*/ 1130 w 5090"/>
                <a:gd name="T41" fmla="*/ 1793 h 18106"/>
                <a:gd name="T42" fmla="*/ 1201 w 5090"/>
                <a:gd name="T43" fmla="*/ 1618 h 18106"/>
                <a:gd name="T44" fmla="*/ 1537 w 5090"/>
                <a:gd name="T45" fmla="*/ 1597 h 18106"/>
                <a:gd name="T46" fmla="*/ 1572 w 5090"/>
                <a:gd name="T47" fmla="*/ 1351 h 18106"/>
                <a:gd name="T48" fmla="*/ 1668 w 5090"/>
                <a:gd name="T49" fmla="*/ 1161 h 18106"/>
                <a:gd name="T50" fmla="*/ 1763 w 5090"/>
                <a:gd name="T51" fmla="*/ 935 h 18106"/>
                <a:gd name="T52" fmla="*/ 1738 w 5090"/>
                <a:gd name="T53" fmla="*/ 327 h 18106"/>
                <a:gd name="T54" fmla="*/ 1778 w 5090"/>
                <a:gd name="T55" fmla="*/ 46 h 18106"/>
                <a:gd name="T56" fmla="*/ 2542 w 5090"/>
                <a:gd name="T57" fmla="*/ 0 h 18106"/>
                <a:gd name="T58" fmla="*/ 3286 w 5090"/>
                <a:gd name="T59" fmla="*/ 20 h 18106"/>
                <a:gd name="T60" fmla="*/ 3336 w 5090"/>
                <a:gd name="T61" fmla="*/ 201 h 18106"/>
                <a:gd name="T62" fmla="*/ 3341 w 5090"/>
                <a:gd name="T63" fmla="*/ 814 h 18106"/>
                <a:gd name="T64" fmla="*/ 3386 w 5090"/>
                <a:gd name="T65" fmla="*/ 1125 h 18106"/>
                <a:gd name="T66" fmla="*/ 3512 w 5090"/>
                <a:gd name="T67" fmla="*/ 1312 h 18106"/>
                <a:gd name="T68" fmla="*/ 3532 w 5090"/>
                <a:gd name="T69" fmla="*/ 1588 h 18106"/>
                <a:gd name="T70" fmla="*/ 3868 w 5090"/>
                <a:gd name="T71" fmla="*/ 1608 h 18106"/>
                <a:gd name="T72" fmla="*/ 3938 w 5090"/>
                <a:gd name="T73" fmla="*/ 1723 h 18106"/>
                <a:gd name="T74" fmla="*/ 4009 w 5090"/>
                <a:gd name="T75" fmla="*/ 2125 h 18106"/>
                <a:gd name="T76" fmla="*/ 3979 w 5090"/>
                <a:gd name="T77" fmla="*/ 3125 h 18106"/>
                <a:gd name="T78" fmla="*/ 3858 w 5090"/>
                <a:gd name="T79" fmla="*/ 3240 h 18106"/>
                <a:gd name="T80" fmla="*/ 3813 w 5090"/>
                <a:gd name="T81" fmla="*/ 3547 h 18106"/>
                <a:gd name="T82" fmla="*/ 4175 w 5090"/>
                <a:gd name="T83" fmla="*/ 3903 h 18106"/>
                <a:gd name="T84" fmla="*/ 4552 w 5090"/>
                <a:gd name="T85" fmla="*/ 4376 h 18106"/>
                <a:gd name="T86" fmla="*/ 4828 w 5090"/>
                <a:gd name="T87" fmla="*/ 4893 h 18106"/>
                <a:gd name="T88" fmla="*/ 4993 w 5090"/>
                <a:gd name="T89" fmla="*/ 5577 h 18106"/>
                <a:gd name="T90" fmla="*/ 5089 w 5090"/>
                <a:gd name="T91" fmla="*/ 6752 h 18106"/>
                <a:gd name="T92" fmla="*/ 5029 w 5090"/>
                <a:gd name="T93" fmla="*/ 7928 h 18106"/>
                <a:gd name="T94" fmla="*/ 4868 w 5090"/>
                <a:gd name="T95" fmla="*/ 8872 h 18106"/>
                <a:gd name="T96" fmla="*/ 4657 w 5090"/>
                <a:gd name="T97" fmla="*/ 10855 h 18106"/>
                <a:gd name="T98" fmla="*/ 4662 w 5090"/>
                <a:gd name="T99" fmla="*/ 12745 h 18106"/>
                <a:gd name="T100" fmla="*/ 4913 w 5090"/>
                <a:gd name="T101" fmla="*/ 14533 h 18106"/>
                <a:gd name="T102" fmla="*/ 5069 w 5090"/>
                <a:gd name="T103" fmla="*/ 16397 h 18106"/>
                <a:gd name="T104" fmla="*/ 5013 w 5090"/>
                <a:gd name="T105" fmla="*/ 16563 h 18106"/>
                <a:gd name="T106" fmla="*/ 5069 w 5090"/>
                <a:gd name="T107" fmla="*/ 16734 h 18106"/>
                <a:gd name="T108" fmla="*/ 5004 w 5090"/>
                <a:gd name="T109" fmla="*/ 17673 h 18106"/>
                <a:gd name="T110" fmla="*/ 4787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2" y="18105"/>
                  </a:moveTo>
                  <a:lnTo>
                    <a:pt x="854" y="18105"/>
                  </a:lnTo>
                  <a:lnTo>
                    <a:pt x="854" y="18105"/>
                  </a:lnTo>
                  <a:lnTo>
                    <a:pt x="773" y="18095"/>
                  </a:lnTo>
                  <a:lnTo>
                    <a:pt x="698" y="18085"/>
                  </a:lnTo>
                  <a:lnTo>
                    <a:pt x="623" y="18070"/>
                  </a:lnTo>
                  <a:lnTo>
                    <a:pt x="547" y="18050"/>
                  </a:lnTo>
                  <a:lnTo>
                    <a:pt x="482" y="18025"/>
                  </a:lnTo>
                  <a:lnTo>
                    <a:pt x="417" y="18000"/>
                  </a:lnTo>
                  <a:lnTo>
                    <a:pt x="357" y="17965"/>
                  </a:lnTo>
                  <a:lnTo>
                    <a:pt x="301" y="17929"/>
                  </a:lnTo>
                  <a:lnTo>
                    <a:pt x="246" y="17889"/>
                  </a:lnTo>
                  <a:lnTo>
                    <a:pt x="201" y="17844"/>
                  </a:lnTo>
                  <a:lnTo>
                    <a:pt x="156" y="17794"/>
                  </a:lnTo>
                  <a:lnTo>
                    <a:pt x="120" y="17739"/>
                  </a:lnTo>
                  <a:lnTo>
                    <a:pt x="85" y="17673"/>
                  </a:lnTo>
                  <a:lnTo>
                    <a:pt x="55" y="17608"/>
                  </a:lnTo>
                  <a:lnTo>
                    <a:pt x="35" y="17532"/>
                  </a:lnTo>
                  <a:lnTo>
                    <a:pt x="20" y="17452"/>
                  </a:lnTo>
                  <a:lnTo>
                    <a:pt x="20" y="16734"/>
                  </a:lnTo>
                  <a:lnTo>
                    <a:pt x="20" y="16729"/>
                  </a:lnTo>
                  <a:lnTo>
                    <a:pt x="20" y="16729"/>
                  </a:lnTo>
                  <a:lnTo>
                    <a:pt x="45" y="16688"/>
                  </a:lnTo>
                  <a:lnTo>
                    <a:pt x="60" y="16649"/>
                  </a:lnTo>
                  <a:lnTo>
                    <a:pt x="70" y="16608"/>
                  </a:lnTo>
                  <a:lnTo>
                    <a:pt x="75" y="16563"/>
                  </a:lnTo>
                  <a:lnTo>
                    <a:pt x="70" y="16523"/>
                  </a:lnTo>
                  <a:lnTo>
                    <a:pt x="60" y="16478"/>
                  </a:lnTo>
                  <a:lnTo>
                    <a:pt x="45" y="16437"/>
                  </a:lnTo>
                  <a:lnTo>
                    <a:pt x="20" y="16397"/>
                  </a:lnTo>
                  <a:lnTo>
                    <a:pt x="20" y="16397"/>
                  </a:lnTo>
                  <a:lnTo>
                    <a:pt x="20" y="15508"/>
                  </a:lnTo>
                  <a:lnTo>
                    <a:pt x="95" y="14875"/>
                  </a:lnTo>
                  <a:lnTo>
                    <a:pt x="95" y="14875"/>
                  </a:lnTo>
                  <a:lnTo>
                    <a:pt x="136" y="14704"/>
                  </a:lnTo>
                  <a:lnTo>
                    <a:pt x="176" y="14533"/>
                  </a:lnTo>
                  <a:lnTo>
                    <a:pt x="246" y="14181"/>
                  </a:lnTo>
                  <a:lnTo>
                    <a:pt x="311" y="13830"/>
                  </a:lnTo>
                  <a:lnTo>
                    <a:pt x="362" y="13474"/>
                  </a:lnTo>
                  <a:lnTo>
                    <a:pt x="396" y="13111"/>
                  </a:lnTo>
                  <a:lnTo>
                    <a:pt x="427" y="12745"/>
                  </a:lnTo>
                  <a:lnTo>
                    <a:pt x="447" y="12378"/>
                  </a:lnTo>
                  <a:lnTo>
                    <a:pt x="457" y="12001"/>
                  </a:lnTo>
                  <a:lnTo>
                    <a:pt x="457" y="11624"/>
                  </a:lnTo>
                  <a:lnTo>
                    <a:pt x="447" y="11243"/>
                  </a:lnTo>
                  <a:lnTo>
                    <a:pt x="432" y="10855"/>
                  </a:lnTo>
                  <a:lnTo>
                    <a:pt x="407" y="10464"/>
                  </a:lnTo>
                  <a:lnTo>
                    <a:pt x="371" y="10072"/>
                  </a:lnTo>
                  <a:lnTo>
                    <a:pt x="326" y="9676"/>
                  </a:lnTo>
                  <a:lnTo>
                    <a:pt x="276" y="9274"/>
                  </a:lnTo>
                  <a:lnTo>
                    <a:pt x="221" y="8872"/>
                  </a:lnTo>
                  <a:lnTo>
                    <a:pt x="221" y="8872"/>
                  </a:lnTo>
                  <a:lnTo>
                    <a:pt x="170" y="8636"/>
                  </a:lnTo>
                  <a:lnTo>
                    <a:pt x="125" y="8400"/>
                  </a:lnTo>
                  <a:lnTo>
                    <a:pt x="90" y="8164"/>
                  </a:lnTo>
                  <a:lnTo>
                    <a:pt x="60" y="7928"/>
                  </a:lnTo>
                  <a:lnTo>
                    <a:pt x="35" y="7692"/>
                  </a:lnTo>
                  <a:lnTo>
                    <a:pt x="15" y="7455"/>
                  </a:lnTo>
                  <a:lnTo>
                    <a:pt x="5" y="7220"/>
                  </a:lnTo>
                  <a:lnTo>
                    <a:pt x="0" y="6983"/>
                  </a:lnTo>
                  <a:lnTo>
                    <a:pt x="0" y="6752"/>
                  </a:lnTo>
                  <a:lnTo>
                    <a:pt x="5" y="6516"/>
                  </a:lnTo>
                  <a:lnTo>
                    <a:pt x="20" y="6280"/>
                  </a:lnTo>
                  <a:lnTo>
                    <a:pt x="35" y="6049"/>
                  </a:lnTo>
                  <a:lnTo>
                    <a:pt x="60" y="5813"/>
                  </a:lnTo>
                  <a:lnTo>
                    <a:pt x="95" y="5577"/>
                  </a:lnTo>
                  <a:lnTo>
                    <a:pt x="131" y="5345"/>
                  </a:lnTo>
                  <a:lnTo>
                    <a:pt x="176" y="5110"/>
                  </a:lnTo>
                  <a:lnTo>
                    <a:pt x="176" y="5110"/>
                  </a:lnTo>
                  <a:lnTo>
                    <a:pt x="216" y="5004"/>
                  </a:lnTo>
                  <a:lnTo>
                    <a:pt x="261" y="4893"/>
                  </a:lnTo>
                  <a:lnTo>
                    <a:pt x="307" y="4788"/>
                  </a:lnTo>
                  <a:lnTo>
                    <a:pt x="362" y="4682"/>
                  </a:lnTo>
                  <a:lnTo>
                    <a:pt x="417" y="4577"/>
                  </a:lnTo>
                  <a:lnTo>
                    <a:pt x="477" y="4476"/>
                  </a:lnTo>
                  <a:lnTo>
                    <a:pt x="537" y="4376"/>
                  </a:lnTo>
                  <a:lnTo>
                    <a:pt x="608" y="4280"/>
                  </a:lnTo>
                  <a:lnTo>
                    <a:pt x="678" y="4185"/>
                  </a:lnTo>
                  <a:lnTo>
                    <a:pt x="754" y="4090"/>
                  </a:lnTo>
                  <a:lnTo>
                    <a:pt x="834" y="3994"/>
                  </a:lnTo>
                  <a:lnTo>
                    <a:pt x="914" y="3903"/>
                  </a:lnTo>
                  <a:lnTo>
                    <a:pt x="1000" y="3813"/>
                  </a:lnTo>
                  <a:lnTo>
                    <a:pt x="1090" y="3723"/>
                  </a:lnTo>
                  <a:lnTo>
                    <a:pt x="1181" y="3632"/>
                  </a:lnTo>
                  <a:lnTo>
                    <a:pt x="1276" y="3547"/>
                  </a:lnTo>
                  <a:lnTo>
                    <a:pt x="1276" y="3401"/>
                  </a:lnTo>
                  <a:lnTo>
                    <a:pt x="1276" y="3401"/>
                  </a:lnTo>
                  <a:lnTo>
                    <a:pt x="1271" y="3356"/>
                  </a:lnTo>
                  <a:lnTo>
                    <a:pt x="1266" y="3316"/>
                  </a:lnTo>
                  <a:lnTo>
                    <a:pt x="1251" y="3276"/>
                  </a:lnTo>
                  <a:lnTo>
                    <a:pt x="1231" y="3240"/>
                  </a:lnTo>
                  <a:lnTo>
                    <a:pt x="1206" y="3205"/>
                  </a:lnTo>
                  <a:lnTo>
                    <a:pt x="1176" y="3175"/>
                  </a:lnTo>
                  <a:lnTo>
                    <a:pt x="1145" y="3145"/>
                  </a:lnTo>
                  <a:lnTo>
                    <a:pt x="1105" y="3125"/>
                  </a:lnTo>
                  <a:lnTo>
                    <a:pt x="1105" y="3125"/>
                  </a:lnTo>
                  <a:lnTo>
                    <a:pt x="1090" y="2914"/>
                  </a:lnTo>
                  <a:lnTo>
                    <a:pt x="1075" y="2708"/>
                  </a:lnTo>
                  <a:lnTo>
                    <a:pt x="1065" y="2502"/>
                  </a:lnTo>
                  <a:lnTo>
                    <a:pt x="1070" y="2311"/>
                  </a:lnTo>
                  <a:lnTo>
                    <a:pt x="1075" y="2125"/>
                  </a:lnTo>
                  <a:lnTo>
                    <a:pt x="1085" y="2040"/>
                  </a:lnTo>
                  <a:lnTo>
                    <a:pt x="1095" y="1955"/>
                  </a:lnTo>
                  <a:lnTo>
                    <a:pt x="1110" y="1874"/>
                  </a:lnTo>
                  <a:lnTo>
                    <a:pt x="1130" y="1793"/>
                  </a:lnTo>
                  <a:lnTo>
                    <a:pt x="1150" y="1723"/>
                  </a:lnTo>
                  <a:lnTo>
                    <a:pt x="1170" y="1653"/>
                  </a:lnTo>
                  <a:lnTo>
                    <a:pt x="1170" y="1653"/>
                  </a:lnTo>
                  <a:lnTo>
                    <a:pt x="1181" y="1633"/>
                  </a:lnTo>
                  <a:lnTo>
                    <a:pt x="1201" y="1618"/>
                  </a:lnTo>
                  <a:lnTo>
                    <a:pt x="1221" y="1608"/>
                  </a:lnTo>
                  <a:lnTo>
                    <a:pt x="1240" y="1603"/>
                  </a:lnTo>
                  <a:lnTo>
                    <a:pt x="1512" y="1603"/>
                  </a:lnTo>
                  <a:lnTo>
                    <a:pt x="1512" y="1603"/>
                  </a:lnTo>
                  <a:lnTo>
                    <a:pt x="1537" y="1597"/>
                  </a:lnTo>
                  <a:lnTo>
                    <a:pt x="1552" y="1588"/>
                  </a:lnTo>
                  <a:lnTo>
                    <a:pt x="1567" y="1567"/>
                  </a:lnTo>
                  <a:lnTo>
                    <a:pt x="1572" y="1542"/>
                  </a:lnTo>
                  <a:lnTo>
                    <a:pt x="1572" y="1351"/>
                  </a:lnTo>
                  <a:lnTo>
                    <a:pt x="1572" y="1351"/>
                  </a:lnTo>
                  <a:lnTo>
                    <a:pt x="1577" y="1312"/>
                  </a:lnTo>
                  <a:lnTo>
                    <a:pt x="1592" y="1271"/>
                  </a:lnTo>
                  <a:lnTo>
                    <a:pt x="1612" y="1236"/>
                  </a:lnTo>
                  <a:lnTo>
                    <a:pt x="1637" y="1196"/>
                  </a:lnTo>
                  <a:lnTo>
                    <a:pt x="1668" y="1161"/>
                  </a:lnTo>
                  <a:lnTo>
                    <a:pt x="1703" y="1125"/>
                  </a:lnTo>
                  <a:lnTo>
                    <a:pt x="1738" y="1090"/>
                  </a:lnTo>
                  <a:lnTo>
                    <a:pt x="1783" y="1055"/>
                  </a:lnTo>
                  <a:lnTo>
                    <a:pt x="1783" y="1055"/>
                  </a:lnTo>
                  <a:lnTo>
                    <a:pt x="1763" y="935"/>
                  </a:lnTo>
                  <a:lnTo>
                    <a:pt x="1743" y="814"/>
                  </a:lnTo>
                  <a:lnTo>
                    <a:pt x="1733" y="694"/>
                  </a:lnTo>
                  <a:lnTo>
                    <a:pt x="1733" y="568"/>
                  </a:lnTo>
                  <a:lnTo>
                    <a:pt x="1733" y="447"/>
                  </a:lnTo>
                  <a:lnTo>
                    <a:pt x="1738" y="327"/>
                  </a:lnTo>
                  <a:lnTo>
                    <a:pt x="1753" y="201"/>
                  </a:lnTo>
                  <a:lnTo>
                    <a:pt x="1768" y="80"/>
                  </a:lnTo>
                  <a:lnTo>
                    <a:pt x="1768" y="80"/>
                  </a:lnTo>
                  <a:lnTo>
                    <a:pt x="1773" y="60"/>
                  </a:lnTo>
                  <a:lnTo>
                    <a:pt x="1778" y="46"/>
                  </a:lnTo>
                  <a:lnTo>
                    <a:pt x="1803" y="20"/>
                  </a:lnTo>
                  <a:lnTo>
                    <a:pt x="1833" y="5"/>
                  </a:lnTo>
                  <a:lnTo>
                    <a:pt x="1849" y="0"/>
                  </a:lnTo>
                  <a:lnTo>
                    <a:pt x="1864" y="0"/>
                  </a:lnTo>
                  <a:lnTo>
                    <a:pt x="2542" y="0"/>
                  </a:lnTo>
                  <a:lnTo>
                    <a:pt x="3220" y="0"/>
                  </a:lnTo>
                  <a:lnTo>
                    <a:pt x="3220" y="0"/>
                  </a:lnTo>
                  <a:lnTo>
                    <a:pt x="3240" y="0"/>
                  </a:lnTo>
                  <a:lnTo>
                    <a:pt x="3255" y="5"/>
                  </a:lnTo>
                  <a:lnTo>
                    <a:pt x="3286" y="20"/>
                  </a:lnTo>
                  <a:lnTo>
                    <a:pt x="3305" y="46"/>
                  </a:lnTo>
                  <a:lnTo>
                    <a:pt x="3316" y="60"/>
                  </a:lnTo>
                  <a:lnTo>
                    <a:pt x="3320" y="80"/>
                  </a:lnTo>
                  <a:lnTo>
                    <a:pt x="3320" y="80"/>
                  </a:lnTo>
                  <a:lnTo>
                    <a:pt x="3336" y="201"/>
                  </a:lnTo>
                  <a:lnTo>
                    <a:pt x="3350" y="327"/>
                  </a:lnTo>
                  <a:lnTo>
                    <a:pt x="3356" y="447"/>
                  </a:lnTo>
                  <a:lnTo>
                    <a:pt x="3356" y="568"/>
                  </a:lnTo>
                  <a:lnTo>
                    <a:pt x="3350" y="694"/>
                  </a:lnTo>
                  <a:lnTo>
                    <a:pt x="3341" y="814"/>
                  </a:lnTo>
                  <a:lnTo>
                    <a:pt x="3325" y="935"/>
                  </a:lnTo>
                  <a:lnTo>
                    <a:pt x="3305" y="1055"/>
                  </a:lnTo>
                  <a:lnTo>
                    <a:pt x="3305" y="1055"/>
                  </a:lnTo>
                  <a:lnTo>
                    <a:pt x="3346" y="1090"/>
                  </a:lnTo>
                  <a:lnTo>
                    <a:pt x="3386" y="1125"/>
                  </a:lnTo>
                  <a:lnTo>
                    <a:pt x="3421" y="1161"/>
                  </a:lnTo>
                  <a:lnTo>
                    <a:pt x="3451" y="1196"/>
                  </a:lnTo>
                  <a:lnTo>
                    <a:pt x="3476" y="1236"/>
                  </a:lnTo>
                  <a:lnTo>
                    <a:pt x="3496" y="1271"/>
                  </a:lnTo>
                  <a:lnTo>
                    <a:pt x="3512" y="1312"/>
                  </a:lnTo>
                  <a:lnTo>
                    <a:pt x="3516" y="1351"/>
                  </a:lnTo>
                  <a:lnTo>
                    <a:pt x="3516" y="1542"/>
                  </a:lnTo>
                  <a:lnTo>
                    <a:pt x="3516" y="1542"/>
                  </a:lnTo>
                  <a:lnTo>
                    <a:pt x="3521" y="1567"/>
                  </a:lnTo>
                  <a:lnTo>
                    <a:pt x="3532" y="1588"/>
                  </a:lnTo>
                  <a:lnTo>
                    <a:pt x="3551" y="1597"/>
                  </a:lnTo>
                  <a:lnTo>
                    <a:pt x="3577" y="1603"/>
                  </a:lnTo>
                  <a:lnTo>
                    <a:pt x="3843" y="1603"/>
                  </a:lnTo>
                  <a:lnTo>
                    <a:pt x="3843" y="1603"/>
                  </a:lnTo>
                  <a:lnTo>
                    <a:pt x="3868" y="1608"/>
                  </a:lnTo>
                  <a:lnTo>
                    <a:pt x="3888" y="1618"/>
                  </a:lnTo>
                  <a:lnTo>
                    <a:pt x="3903" y="1633"/>
                  </a:lnTo>
                  <a:lnTo>
                    <a:pt x="3918" y="1653"/>
                  </a:lnTo>
                  <a:lnTo>
                    <a:pt x="3918" y="1653"/>
                  </a:lnTo>
                  <a:lnTo>
                    <a:pt x="3938" y="1723"/>
                  </a:lnTo>
                  <a:lnTo>
                    <a:pt x="3959" y="1793"/>
                  </a:lnTo>
                  <a:lnTo>
                    <a:pt x="3979" y="1874"/>
                  </a:lnTo>
                  <a:lnTo>
                    <a:pt x="3989" y="1955"/>
                  </a:lnTo>
                  <a:lnTo>
                    <a:pt x="4004" y="2040"/>
                  </a:lnTo>
                  <a:lnTo>
                    <a:pt x="4009" y="2125"/>
                  </a:lnTo>
                  <a:lnTo>
                    <a:pt x="4019" y="2311"/>
                  </a:lnTo>
                  <a:lnTo>
                    <a:pt x="4024" y="2502"/>
                  </a:lnTo>
                  <a:lnTo>
                    <a:pt x="4014" y="2708"/>
                  </a:lnTo>
                  <a:lnTo>
                    <a:pt x="3999" y="2914"/>
                  </a:lnTo>
                  <a:lnTo>
                    <a:pt x="3979" y="3125"/>
                  </a:lnTo>
                  <a:lnTo>
                    <a:pt x="3979" y="3125"/>
                  </a:lnTo>
                  <a:lnTo>
                    <a:pt x="3943" y="3145"/>
                  </a:lnTo>
                  <a:lnTo>
                    <a:pt x="3913" y="3175"/>
                  </a:lnTo>
                  <a:lnTo>
                    <a:pt x="3883" y="3205"/>
                  </a:lnTo>
                  <a:lnTo>
                    <a:pt x="3858" y="3240"/>
                  </a:lnTo>
                  <a:lnTo>
                    <a:pt x="3838" y="3276"/>
                  </a:lnTo>
                  <a:lnTo>
                    <a:pt x="3823" y="3316"/>
                  </a:lnTo>
                  <a:lnTo>
                    <a:pt x="3813" y="3356"/>
                  </a:lnTo>
                  <a:lnTo>
                    <a:pt x="3813" y="3401"/>
                  </a:lnTo>
                  <a:lnTo>
                    <a:pt x="3813" y="3547"/>
                  </a:lnTo>
                  <a:lnTo>
                    <a:pt x="3813" y="3547"/>
                  </a:lnTo>
                  <a:lnTo>
                    <a:pt x="3909" y="3632"/>
                  </a:lnTo>
                  <a:lnTo>
                    <a:pt x="3999" y="3723"/>
                  </a:lnTo>
                  <a:lnTo>
                    <a:pt x="4089" y="3813"/>
                  </a:lnTo>
                  <a:lnTo>
                    <a:pt x="4175" y="3903"/>
                  </a:lnTo>
                  <a:lnTo>
                    <a:pt x="4255" y="3994"/>
                  </a:lnTo>
                  <a:lnTo>
                    <a:pt x="4335" y="4090"/>
                  </a:lnTo>
                  <a:lnTo>
                    <a:pt x="4411" y="4185"/>
                  </a:lnTo>
                  <a:lnTo>
                    <a:pt x="4481" y="4280"/>
                  </a:lnTo>
                  <a:lnTo>
                    <a:pt x="4552" y="4376"/>
                  </a:lnTo>
                  <a:lnTo>
                    <a:pt x="4612" y="4476"/>
                  </a:lnTo>
                  <a:lnTo>
                    <a:pt x="4672" y="4577"/>
                  </a:lnTo>
                  <a:lnTo>
                    <a:pt x="4727" y="4682"/>
                  </a:lnTo>
                  <a:lnTo>
                    <a:pt x="4782" y="4788"/>
                  </a:lnTo>
                  <a:lnTo>
                    <a:pt x="4828" y="4893"/>
                  </a:lnTo>
                  <a:lnTo>
                    <a:pt x="4873" y="5004"/>
                  </a:lnTo>
                  <a:lnTo>
                    <a:pt x="4913" y="5110"/>
                  </a:lnTo>
                  <a:lnTo>
                    <a:pt x="4913" y="5110"/>
                  </a:lnTo>
                  <a:lnTo>
                    <a:pt x="4953" y="5345"/>
                  </a:lnTo>
                  <a:lnTo>
                    <a:pt x="4993" y="5577"/>
                  </a:lnTo>
                  <a:lnTo>
                    <a:pt x="5024" y="5813"/>
                  </a:lnTo>
                  <a:lnTo>
                    <a:pt x="5049" y="6049"/>
                  </a:lnTo>
                  <a:lnTo>
                    <a:pt x="5069" y="6280"/>
                  </a:lnTo>
                  <a:lnTo>
                    <a:pt x="5084" y="6516"/>
                  </a:lnTo>
                  <a:lnTo>
                    <a:pt x="5089" y="6752"/>
                  </a:lnTo>
                  <a:lnTo>
                    <a:pt x="5089" y="6983"/>
                  </a:lnTo>
                  <a:lnTo>
                    <a:pt x="5084" y="7220"/>
                  </a:lnTo>
                  <a:lnTo>
                    <a:pt x="5074" y="7455"/>
                  </a:lnTo>
                  <a:lnTo>
                    <a:pt x="5054" y="7692"/>
                  </a:lnTo>
                  <a:lnTo>
                    <a:pt x="5029" y="7928"/>
                  </a:lnTo>
                  <a:lnTo>
                    <a:pt x="4999" y="8164"/>
                  </a:lnTo>
                  <a:lnTo>
                    <a:pt x="4963" y="8400"/>
                  </a:lnTo>
                  <a:lnTo>
                    <a:pt x="4918" y="8636"/>
                  </a:lnTo>
                  <a:lnTo>
                    <a:pt x="4868" y="8872"/>
                  </a:lnTo>
                  <a:lnTo>
                    <a:pt x="4868" y="8872"/>
                  </a:lnTo>
                  <a:lnTo>
                    <a:pt x="4812" y="9274"/>
                  </a:lnTo>
                  <a:lnTo>
                    <a:pt x="4762" y="9676"/>
                  </a:lnTo>
                  <a:lnTo>
                    <a:pt x="4717" y="10072"/>
                  </a:lnTo>
                  <a:lnTo>
                    <a:pt x="4682" y="10464"/>
                  </a:lnTo>
                  <a:lnTo>
                    <a:pt x="4657" y="10855"/>
                  </a:lnTo>
                  <a:lnTo>
                    <a:pt x="4641" y="11243"/>
                  </a:lnTo>
                  <a:lnTo>
                    <a:pt x="4632" y="11624"/>
                  </a:lnTo>
                  <a:lnTo>
                    <a:pt x="4632" y="12001"/>
                  </a:lnTo>
                  <a:lnTo>
                    <a:pt x="4641" y="12378"/>
                  </a:lnTo>
                  <a:lnTo>
                    <a:pt x="4662" y="12745"/>
                  </a:lnTo>
                  <a:lnTo>
                    <a:pt x="4687" y="13111"/>
                  </a:lnTo>
                  <a:lnTo>
                    <a:pt x="4727" y="13474"/>
                  </a:lnTo>
                  <a:lnTo>
                    <a:pt x="4778" y="13830"/>
                  </a:lnTo>
                  <a:lnTo>
                    <a:pt x="4837" y="14181"/>
                  </a:lnTo>
                  <a:lnTo>
                    <a:pt x="4913" y="14533"/>
                  </a:lnTo>
                  <a:lnTo>
                    <a:pt x="4953" y="14704"/>
                  </a:lnTo>
                  <a:lnTo>
                    <a:pt x="4993" y="14875"/>
                  </a:lnTo>
                  <a:lnTo>
                    <a:pt x="5069" y="15508"/>
                  </a:lnTo>
                  <a:lnTo>
                    <a:pt x="5069" y="16397"/>
                  </a:lnTo>
                  <a:lnTo>
                    <a:pt x="5069" y="16397"/>
                  </a:lnTo>
                  <a:lnTo>
                    <a:pt x="5069" y="16397"/>
                  </a:lnTo>
                  <a:lnTo>
                    <a:pt x="5044" y="16437"/>
                  </a:lnTo>
                  <a:lnTo>
                    <a:pt x="5029" y="16478"/>
                  </a:lnTo>
                  <a:lnTo>
                    <a:pt x="5018" y="16523"/>
                  </a:lnTo>
                  <a:lnTo>
                    <a:pt x="5013" y="16563"/>
                  </a:lnTo>
                  <a:lnTo>
                    <a:pt x="5018" y="16608"/>
                  </a:lnTo>
                  <a:lnTo>
                    <a:pt x="5029" y="16649"/>
                  </a:lnTo>
                  <a:lnTo>
                    <a:pt x="5044" y="16688"/>
                  </a:lnTo>
                  <a:lnTo>
                    <a:pt x="5069" y="16729"/>
                  </a:lnTo>
                  <a:lnTo>
                    <a:pt x="5069" y="16734"/>
                  </a:lnTo>
                  <a:lnTo>
                    <a:pt x="5069" y="17452"/>
                  </a:lnTo>
                  <a:lnTo>
                    <a:pt x="5069" y="17452"/>
                  </a:lnTo>
                  <a:lnTo>
                    <a:pt x="5054" y="17532"/>
                  </a:lnTo>
                  <a:lnTo>
                    <a:pt x="5029" y="17608"/>
                  </a:lnTo>
                  <a:lnTo>
                    <a:pt x="5004" y="17673"/>
                  </a:lnTo>
                  <a:lnTo>
                    <a:pt x="4968" y="17739"/>
                  </a:lnTo>
                  <a:lnTo>
                    <a:pt x="4933" y="17794"/>
                  </a:lnTo>
                  <a:lnTo>
                    <a:pt x="4888" y="17844"/>
                  </a:lnTo>
                  <a:lnTo>
                    <a:pt x="4843" y="17889"/>
                  </a:lnTo>
                  <a:lnTo>
                    <a:pt x="4787" y="17929"/>
                  </a:lnTo>
                  <a:lnTo>
                    <a:pt x="4732" y="17965"/>
                  </a:lnTo>
                  <a:lnTo>
                    <a:pt x="4672" y="18000"/>
                  </a:lnTo>
                  <a:lnTo>
                    <a:pt x="4607" y="18025"/>
                  </a:lnTo>
                  <a:lnTo>
                    <a:pt x="4536" y="18050"/>
                  </a:lnTo>
                  <a:lnTo>
                    <a:pt x="4466" y="18070"/>
                  </a:lnTo>
                  <a:lnTo>
                    <a:pt x="4390" y="18085"/>
                  </a:lnTo>
                  <a:lnTo>
                    <a:pt x="4315" y="18095"/>
                  </a:lnTo>
                  <a:lnTo>
                    <a:pt x="4235" y="18105"/>
                  </a:lnTo>
                  <a:lnTo>
                    <a:pt x="2542" y="18105"/>
                  </a:lnTo>
                </a:path>
              </a:pathLst>
            </a:custGeom>
            <a:noFill/>
            <a:ln w="12700">
              <a:solidFill>
                <a:schemeClr val="bg1">
                  <a:alpha val="30000"/>
                </a:schemeClr>
              </a:solidFill>
            </a:ln>
            <a:effectLst/>
          </p:spPr>
          <p:txBody>
            <a:bodyPr wrap="none" anchor="ctr"/>
            <a:lstStyle/>
            <a:p>
              <a:endParaRPr lang="en-US" sz="1709"/>
            </a:p>
          </p:txBody>
        </p:sp>
        <p:sp>
          <p:nvSpPr>
            <p:cNvPr id="14" name="Freeform 13">
              <a:extLst>
                <a:ext uri="{FF2B5EF4-FFF2-40B4-BE49-F238E27FC236}">
                  <a16:creationId xmlns:a16="http://schemas.microsoft.com/office/drawing/2014/main" id="{4A77C6DA-2596-C240-B839-058AC7353493}"/>
                </a:ext>
              </a:extLst>
            </p:cNvPr>
            <p:cNvSpPr>
              <a:spLocks noChangeArrowheads="1"/>
            </p:cNvSpPr>
            <p:nvPr/>
          </p:nvSpPr>
          <p:spPr bwMode="auto">
            <a:xfrm>
              <a:off x="5668206" y="1086914"/>
              <a:ext cx="1479255" cy="5049296"/>
            </a:xfrm>
            <a:custGeom>
              <a:avLst/>
              <a:gdLst>
                <a:gd name="T0" fmla="*/ 5349 w 5858"/>
                <a:gd name="T1" fmla="*/ 16141 h 19990"/>
                <a:gd name="T2" fmla="*/ 5289 w 5858"/>
                <a:gd name="T3" fmla="*/ 15548 h 19990"/>
                <a:gd name="T4" fmla="*/ 5319 w 5858"/>
                <a:gd name="T5" fmla="*/ 14920 h 19990"/>
                <a:gd name="T6" fmla="*/ 5807 w 5858"/>
                <a:gd name="T7" fmla="*/ 11554 h 19990"/>
                <a:gd name="T8" fmla="*/ 5741 w 5858"/>
                <a:gd name="T9" fmla="*/ 11278 h 19990"/>
                <a:gd name="T10" fmla="*/ 5706 w 5858"/>
                <a:gd name="T11" fmla="*/ 11162 h 19990"/>
                <a:gd name="T12" fmla="*/ 5771 w 5858"/>
                <a:gd name="T13" fmla="*/ 10018 h 19990"/>
                <a:gd name="T14" fmla="*/ 5721 w 5858"/>
                <a:gd name="T15" fmla="*/ 9018 h 19990"/>
                <a:gd name="T16" fmla="*/ 5536 w 5858"/>
                <a:gd name="T17" fmla="*/ 7943 h 19990"/>
                <a:gd name="T18" fmla="*/ 5505 w 5858"/>
                <a:gd name="T19" fmla="*/ 7295 h 19990"/>
                <a:gd name="T20" fmla="*/ 5505 w 5858"/>
                <a:gd name="T21" fmla="*/ 7179 h 19990"/>
                <a:gd name="T22" fmla="*/ 4586 w 5858"/>
                <a:gd name="T23" fmla="*/ 4466 h 19990"/>
                <a:gd name="T24" fmla="*/ 4290 w 5858"/>
                <a:gd name="T25" fmla="*/ 3371 h 19990"/>
                <a:gd name="T26" fmla="*/ 4184 w 5858"/>
                <a:gd name="T27" fmla="*/ 2738 h 19990"/>
                <a:gd name="T28" fmla="*/ 4159 w 5858"/>
                <a:gd name="T29" fmla="*/ 1583 h 19990"/>
                <a:gd name="T30" fmla="*/ 4184 w 5858"/>
                <a:gd name="T31" fmla="*/ 1512 h 19990"/>
                <a:gd name="T32" fmla="*/ 4290 w 5858"/>
                <a:gd name="T33" fmla="*/ 1432 h 19990"/>
                <a:gd name="T34" fmla="*/ 4179 w 5858"/>
                <a:gd name="T35" fmla="*/ 1015 h 19990"/>
                <a:gd name="T36" fmla="*/ 4103 w 5858"/>
                <a:gd name="T37" fmla="*/ 633 h 19990"/>
                <a:gd name="T38" fmla="*/ 4133 w 5858"/>
                <a:gd name="T39" fmla="*/ 477 h 19990"/>
                <a:gd name="T40" fmla="*/ 4174 w 5858"/>
                <a:gd name="T41" fmla="*/ 402 h 19990"/>
                <a:gd name="T42" fmla="*/ 4164 w 5858"/>
                <a:gd name="T43" fmla="*/ 276 h 19990"/>
                <a:gd name="T44" fmla="*/ 3983 w 5858"/>
                <a:gd name="T45" fmla="*/ 141 h 19990"/>
                <a:gd name="T46" fmla="*/ 3250 w 5858"/>
                <a:gd name="T47" fmla="*/ 15 h 19990"/>
                <a:gd name="T48" fmla="*/ 2608 w 5858"/>
                <a:gd name="T49" fmla="*/ 15 h 19990"/>
                <a:gd name="T50" fmla="*/ 1874 w 5858"/>
                <a:gd name="T51" fmla="*/ 141 h 19990"/>
                <a:gd name="T52" fmla="*/ 1693 w 5858"/>
                <a:gd name="T53" fmla="*/ 276 h 19990"/>
                <a:gd name="T54" fmla="*/ 1683 w 5858"/>
                <a:gd name="T55" fmla="*/ 402 h 19990"/>
                <a:gd name="T56" fmla="*/ 1723 w 5858"/>
                <a:gd name="T57" fmla="*/ 477 h 19990"/>
                <a:gd name="T58" fmla="*/ 1753 w 5858"/>
                <a:gd name="T59" fmla="*/ 633 h 19990"/>
                <a:gd name="T60" fmla="*/ 1678 w 5858"/>
                <a:gd name="T61" fmla="*/ 1015 h 19990"/>
                <a:gd name="T62" fmla="*/ 1563 w 5858"/>
                <a:gd name="T63" fmla="*/ 1432 h 19990"/>
                <a:gd name="T64" fmla="*/ 1673 w 5858"/>
                <a:gd name="T65" fmla="*/ 1512 h 19990"/>
                <a:gd name="T66" fmla="*/ 1698 w 5858"/>
                <a:gd name="T67" fmla="*/ 1583 h 19990"/>
                <a:gd name="T68" fmla="*/ 1668 w 5858"/>
                <a:gd name="T69" fmla="*/ 2738 h 19990"/>
                <a:gd name="T70" fmla="*/ 1563 w 5858"/>
                <a:gd name="T71" fmla="*/ 3371 h 19990"/>
                <a:gd name="T72" fmla="*/ 1271 w 5858"/>
                <a:gd name="T73" fmla="*/ 4466 h 19990"/>
                <a:gd name="T74" fmla="*/ 352 w 5858"/>
                <a:gd name="T75" fmla="*/ 7179 h 19990"/>
                <a:gd name="T76" fmla="*/ 397 w 5858"/>
                <a:gd name="T77" fmla="*/ 7601 h 19990"/>
                <a:gd name="T78" fmla="*/ 166 w 5858"/>
                <a:gd name="T79" fmla="*/ 8817 h 19990"/>
                <a:gd name="T80" fmla="*/ 101 w 5858"/>
                <a:gd name="T81" fmla="*/ 9907 h 19990"/>
                <a:gd name="T82" fmla="*/ 151 w 5858"/>
                <a:gd name="T83" fmla="*/ 11137 h 19990"/>
                <a:gd name="T84" fmla="*/ 116 w 5858"/>
                <a:gd name="T85" fmla="*/ 11278 h 19990"/>
                <a:gd name="T86" fmla="*/ 46 w 5858"/>
                <a:gd name="T87" fmla="*/ 11494 h 19990"/>
                <a:gd name="T88" fmla="*/ 523 w 5858"/>
                <a:gd name="T89" fmla="*/ 14794 h 19990"/>
                <a:gd name="T90" fmla="*/ 568 w 5858"/>
                <a:gd name="T91" fmla="*/ 15422 h 19990"/>
                <a:gd name="T92" fmla="*/ 528 w 5858"/>
                <a:gd name="T93" fmla="*/ 16025 h 19990"/>
                <a:gd name="T94" fmla="*/ 60 w 5858"/>
                <a:gd name="T95" fmla="*/ 17769 h 19990"/>
                <a:gd name="T96" fmla="*/ 0 w 5858"/>
                <a:gd name="T97" fmla="*/ 18311 h 19990"/>
                <a:gd name="T98" fmla="*/ 30 w 5858"/>
                <a:gd name="T99" fmla="*/ 18818 h 19990"/>
                <a:gd name="T100" fmla="*/ 146 w 5858"/>
                <a:gd name="T101" fmla="*/ 19266 h 19990"/>
                <a:gd name="T102" fmla="*/ 558 w 5858"/>
                <a:gd name="T103" fmla="*/ 19552 h 19990"/>
                <a:gd name="T104" fmla="*/ 1342 w 5858"/>
                <a:gd name="T105" fmla="*/ 19829 h 19990"/>
                <a:gd name="T106" fmla="*/ 2266 w 5858"/>
                <a:gd name="T107" fmla="*/ 19974 h 19990"/>
                <a:gd name="T108" fmla="*/ 2989 w 5858"/>
                <a:gd name="T109" fmla="*/ 19984 h 19990"/>
                <a:gd name="T110" fmla="*/ 3782 w 5858"/>
                <a:gd name="T111" fmla="*/ 19959 h 19990"/>
                <a:gd name="T112" fmla="*/ 4686 w 5858"/>
                <a:gd name="T113" fmla="*/ 19778 h 19990"/>
                <a:gd name="T114" fmla="*/ 5430 w 5858"/>
                <a:gd name="T115" fmla="*/ 19487 h 19990"/>
                <a:gd name="T116" fmla="*/ 5741 w 5858"/>
                <a:gd name="T117" fmla="*/ 19181 h 19990"/>
                <a:gd name="T118" fmla="*/ 5842 w 5858"/>
                <a:gd name="T119" fmla="*/ 18723 h 19990"/>
                <a:gd name="T120" fmla="*/ 5852 w 5858"/>
                <a:gd name="T121" fmla="*/ 18206 h 19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8" h="19990">
                  <a:moveTo>
                    <a:pt x="5796" y="17769"/>
                  </a:moveTo>
                  <a:lnTo>
                    <a:pt x="5399" y="16372"/>
                  </a:lnTo>
                  <a:lnTo>
                    <a:pt x="5399" y="16372"/>
                  </a:lnTo>
                  <a:lnTo>
                    <a:pt x="5374" y="16256"/>
                  </a:lnTo>
                  <a:lnTo>
                    <a:pt x="5349" y="16141"/>
                  </a:lnTo>
                  <a:lnTo>
                    <a:pt x="5329" y="16025"/>
                  </a:lnTo>
                  <a:lnTo>
                    <a:pt x="5314" y="15910"/>
                  </a:lnTo>
                  <a:lnTo>
                    <a:pt x="5299" y="15789"/>
                  </a:lnTo>
                  <a:lnTo>
                    <a:pt x="5294" y="15668"/>
                  </a:lnTo>
                  <a:lnTo>
                    <a:pt x="5289" y="15548"/>
                  </a:lnTo>
                  <a:lnTo>
                    <a:pt x="5289" y="15422"/>
                  </a:lnTo>
                  <a:lnTo>
                    <a:pt x="5289" y="15302"/>
                  </a:lnTo>
                  <a:lnTo>
                    <a:pt x="5294" y="15176"/>
                  </a:lnTo>
                  <a:lnTo>
                    <a:pt x="5304" y="15050"/>
                  </a:lnTo>
                  <a:lnTo>
                    <a:pt x="5319" y="14920"/>
                  </a:lnTo>
                  <a:lnTo>
                    <a:pt x="5335" y="14794"/>
                  </a:lnTo>
                  <a:lnTo>
                    <a:pt x="5354" y="14664"/>
                  </a:lnTo>
                  <a:lnTo>
                    <a:pt x="5399" y="14398"/>
                  </a:lnTo>
                  <a:lnTo>
                    <a:pt x="5807" y="11554"/>
                  </a:lnTo>
                  <a:lnTo>
                    <a:pt x="5807" y="11554"/>
                  </a:lnTo>
                  <a:lnTo>
                    <a:pt x="5812" y="11494"/>
                  </a:lnTo>
                  <a:lnTo>
                    <a:pt x="5802" y="11428"/>
                  </a:lnTo>
                  <a:lnTo>
                    <a:pt x="5787" y="11368"/>
                  </a:lnTo>
                  <a:lnTo>
                    <a:pt x="5762" y="11308"/>
                  </a:lnTo>
                  <a:lnTo>
                    <a:pt x="5741" y="11278"/>
                  </a:lnTo>
                  <a:lnTo>
                    <a:pt x="5741" y="11278"/>
                  </a:lnTo>
                  <a:lnTo>
                    <a:pt x="5726" y="11247"/>
                  </a:lnTo>
                  <a:lnTo>
                    <a:pt x="5716" y="11222"/>
                  </a:lnTo>
                  <a:lnTo>
                    <a:pt x="5711" y="11192"/>
                  </a:lnTo>
                  <a:lnTo>
                    <a:pt x="5706" y="11162"/>
                  </a:lnTo>
                  <a:lnTo>
                    <a:pt x="5706" y="11162"/>
                  </a:lnTo>
                  <a:lnTo>
                    <a:pt x="5726" y="10836"/>
                  </a:lnTo>
                  <a:lnTo>
                    <a:pt x="5746" y="10514"/>
                  </a:lnTo>
                  <a:lnTo>
                    <a:pt x="5766" y="10188"/>
                  </a:lnTo>
                  <a:lnTo>
                    <a:pt x="5771" y="10018"/>
                  </a:lnTo>
                  <a:lnTo>
                    <a:pt x="5771" y="9837"/>
                  </a:lnTo>
                  <a:lnTo>
                    <a:pt x="5771" y="9651"/>
                  </a:lnTo>
                  <a:lnTo>
                    <a:pt x="5762" y="9450"/>
                  </a:lnTo>
                  <a:lnTo>
                    <a:pt x="5746" y="9239"/>
                  </a:lnTo>
                  <a:lnTo>
                    <a:pt x="5721" y="9018"/>
                  </a:lnTo>
                  <a:lnTo>
                    <a:pt x="5691" y="8772"/>
                  </a:lnTo>
                  <a:lnTo>
                    <a:pt x="5651" y="8515"/>
                  </a:lnTo>
                  <a:lnTo>
                    <a:pt x="5600" y="8234"/>
                  </a:lnTo>
                  <a:lnTo>
                    <a:pt x="5536" y="7933"/>
                  </a:lnTo>
                  <a:lnTo>
                    <a:pt x="5536" y="7943"/>
                  </a:lnTo>
                  <a:lnTo>
                    <a:pt x="5536" y="7943"/>
                  </a:lnTo>
                  <a:lnTo>
                    <a:pt x="5460" y="7601"/>
                  </a:lnTo>
                  <a:lnTo>
                    <a:pt x="5460" y="7601"/>
                  </a:lnTo>
                  <a:lnTo>
                    <a:pt x="5536" y="7933"/>
                  </a:lnTo>
                  <a:lnTo>
                    <a:pt x="5505" y="7295"/>
                  </a:lnTo>
                  <a:lnTo>
                    <a:pt x="5505" y="7295"/>
                  </a:lnTo>
                  <a:lnTo>
                    <a:pt x="5510" y="7265"/>
                  </a:lnTo>
                  <a:lnTo>
                    <a:pt x="5515" y="7240"/>
                  </a:lnTo>
                  <a:lnTo>
                    <a:pt x="5510" y="7209"/>
                  </a:lnTo>
                  <a:lnTo>
                    <a:pt x="5505" y="7179"/>
                  </a:lnTo>
                  <a:lnTo>
                    <a:pt x="4762" y="4964"/>
                  </a:lnTo>
                  <a:lnTo>
                    <a:pt x="4762" y="4964"/>
                  </a:lnTo>
                  <a:lnTo>
                    <a:pt x="4701" y="4818"/>
                  </a:lnTo>
                  <a:lnTo>
                    <a:pt x="4641" y="4652"/>
                  </a:lnTo>
                  <a:lnTo>
                    <a:pt x="4586" y="4466"/>
                  </a:lnTo>
                  <a:lnTo>
                    <a:pt x="4525" y="4270"/>
                  </a:lnTo>
                  <a:lnTo>
                    <a:pt x="4465" y="4059"/>
                  </a:lnTo>
                  <a:lnTo>
                    <a:pt x="4410" y="3838"/>
                  </a:lnTo>
                  <a:lnTo>
                    <a:pt x="4290" y="3371"/>
                  </a:lnTo>
                  <a:lnTo>
                    <a:pt x="4290" y="3371"/>
                  </a:lnTo>
                  <a:lnTo>
                    <a:pt x="4264" y="3246"/>
                  </a:lnTo>
                  <a:lnTo>
                    <a:pt x="4239" y="3120"/>
                  </a:lnTo>
                  <a:lnTo>
                    <a:pt x="4219" y="2994"/>
                  </a:lnTo>
                  <a:lnTo>
                    <a:pt x="4199" y="2869"/>
                  </a:lnTo>
                  <a:lnTo>
                    <a:pt x="4184" y="2738"/>
                  </a:lnTo>
                  <a:lnTo>
                    <a:pt x="4174" y="2612"/>
                  </a:lnTo>
                  <a:lnTo>
                    <a:pt x="4169" y="2487"/>
                  </a:lnTo>
                  <a:lnTo>
                    <a:pt x="4164" y="2356"/>
                  </a:lnTo>
                  <a:lnTo>
                    <a:pt x="4164" y="2356"/>
                  </a:lnTo>
                  <a:lnTo>
                    <a:pt x="4159" y="1583"/>
                  </a:lnTo>
                  <a:lnTo>
                    <a:pt x="4159" y="1583"/>
                  </a:lnTo>
                  <a:lnTo>
                    <a:pt x="4159" y="1562"/>
                  </a:lnTo>
                  <a:lnTo>
                    <a:pt x="4164" y="1547"/>
                  </a:lnTo>
                  <a:lnTo>
                    <a:pt x="4174" y="1527"/>
                  </a:lnTo>
                  <a:lnTo>
                    <a:pt x="4184" y="1512"/>
                  </a:lnTo>
                  <a:lnTo>
                    <a:pt x="4209" y="1487"/>
                  </a:lnTo>
                  <a:lnTo>
                    <a:pt x="4244" y="1472"/>
                  </a:lnTo>
                  <a:lnTo>
                    <a:pt x="4244" y="1472"/>
                  </a:lnTo>
                  <a:lnTo>
                    <a:pt x="4274" y="1457"/>
                  </a:lnTo>
                  <a:lnTo>
                    <a:pt x="4290" y="1432"/>
                  </a:lnTo>
                  <a:lnTo>
                    <a:pt x="4304" y="1396"/>
                  </a:lnTo>
                  <a:lnTo>
                    <a:pt x="4309" y="1351"/>
                  </a:lnTo>
                  <a:lnTo>
                    <a:pt x="4309" y="1351"/>
                  </a:lnTo>
                  <a:lnTo>
                    <a:pt x="4214" y="1120"/>
                  </a:lnTo>
                  <a:lnTo>
                    <a:pt x="4179" y="1015"/>
                  </a:lnTo>
                  <a:lnTo>
                    <a:pt x="4149" y="919"/>
                  </a:lnTo>
                  <a:lnTo>
                    <a:pt x="4124" y="834"/>
                  </a:lnTo>
                  <a:lnTo>
                    <a:pt x="4108" y="753"/>
                  </a:lnTo>
                  <a:lnTo>
                    <a:pt x="4103" y="689"/>
                  </a:lnTo>
                  <a:lnTo>
                    <a:pt x="4103" y="633"/>
                  </a:lnTo>
                  <a:lnTo>
                    <a:pt x="4103" y="633"/>
                  </a:lnTo>
                  <a:lnTo>
                    <a:pt x="4099" y="593"/>
                  </a:lnTo>
                  <a:lnTo>
                    <a:pt x="4103" y="552"/>
                  </a:lnTo>
                  <a:lnTo>
                    <a:pt x="4114" y="513"/>
                  </a:lnTo>
                  <a:lnTo>
                    <a:pt x="4133" y="477"/>
                  </a:lnTo>
                  <a:lnTo>
                    <a:pt x="4139" y="472"/>
                  </a:lnTo>
                  <a:lnTo>
                    <a:pt x="4139" y="472"/>
                  </a:lnTo>
                  <a:lnTo>
                    <a:pt x="4154" y="452"/>
                  </a:lnTo>
                  <a:lnTo>
                    <a:pt x="4164" y="427"/>
                  </a:lnTo>
                  <a:lnTo>
                    <a:pt x="4174" y="402"/>
                  </a:lnTo>
                  <a:lnTo>
                    <a:pt x="4179" y="377"/>
                  </a:lnTo>
                  <a:lnTo>
                    <a:pt x="4179" y="352"/>
                  </a:lnTo>
                  <a:lnTo>
                    <a:pt x="4179" y="326"/>
                  </a:lnTo>
                  <a:lnTo>
                    <a:pt x="4174" y="301"/>
                  </a:lnTo>
                  <a:lnTo>
                    <a:pt x="4164" y="276"/>
                  </a:lnTo>
                  <a:lnTo>
                    <a:pt x="4164" y="276"/>
                  </a:lnTo>
                  <a:lnTo>
                    <a:pt x="4139" y="231"/>
                  </a:lnTo>
                  <a:lnTo>
                    <a:pt x="4114" y="181"/>
                  </a:lnTo>
                  <a:lnTo>
                    <a:pt x="4114" y="181"/>
                  </a:lnTo>
                  <a:lnTo>
                    <a:pt x="3983" y="141"/>
                  </a:lnTo>
                  <a:lnTo>
                    <a:pt x="3848" y="100"/>
                  </a:lnTo>
                  <a:lnTo>
                    <a:pt x="3702" y="71"/>
                  </a:lnTo>
                  <a:lnTo>
                    <a:pt x="3556" y="45"/>
                  </a:lnTo>
                  <a:lnTo>
                    <a:pt x="3405" y="25"/>
                  </a:lnTo>
                  <a:lnTo>
                    <a:pt x="3250" y="15"/>
                  </a:lnTo>
                  <a:lnTo>
                    <a:pt x="3094" y="5"/>
                  </a:lnTo>
                  <a:lnTo>
                    <a:pt x="2929" y="0"/>
                  </a:lnTo>
                  <a:lnTo>
                    <a:pt x="2929" y="0"/>
                  </a:lnTo>
                  <a:lnTo>
                    <a:pt x="2763" y="5"/>
                  </a:lnTo>
                  <a:lnTo>
                    <a:pt x="2608" y="15"/>
                  </a:lnTo>
                  <a:lnTo>
                    <a:pt x="2452" y="25"/>
                  </a:lnTo>
                  <a:lnTo>
                    <a:pt x="2301" y="45"/>
                  </a:lnTo>
                  <a:lnTo>
                    <a:pt x="2150" y="71"/>
                  </a:lnTo>
                  <a:lnTo>
                    <a:pt x="2010" y="100"/>
                  </a:lnTo>
                  <a:lnTo>
                    <a:pt x="1874" y="141"/>
                  </a:lnTo>
                  <a:lnTo>
                    <a:pt x="1743" y="181"/>
                  </a:lnTo>
                  <a:lnTo>
                    <a:pt x="1743" y="181"/>
                  </a:lnTo>
                  <a:lnTo>
                    <a:pt x="1718" y="231"/>
                  </a:lnTo>
                  <a:lnTo>
                    <a:pt x="1693" y="276"/>
                  </a:lnTo>
                  <a:lnTo>
                    <a:pt x="1693" y="276"/>
                  </a:lnTo>
                  <a:lnTo>
                    <a:pt x="1683" y="301"/>
                  </a:lnTo>
                  <a:lnTo>
                    <a:pt x="1678" y="326"/>
                  </a:lnTo>
                  <a:lnTo>
                    <a:pt x="1678" y="352"/>
                  </a:lnTo>
                  <a:lnTo>
                    <a:pt x="1678" y="377"/>
                  </a:lnTo>
                  <a:lnTo>
                    <a:pt x="1683" y="402"/>
                  </a:lnTo>
                  <a:lnTo>
                    <a:pt x="1693" y="427"/>
                  </a:lnTo>
                  <a:lnTo>
                    <a:pt x="1703" y="452"/>
                  </a:lnTo>
                  <a:lnTo>
                    <a:pt x="1718" y="472"/>
                  </a:lnTo>
                  <a:lnTo>
                    <a:pt x="1723" y="477"/>
                  </a:lnTo>
                  <a:lnTo>
                    <a:pt x="1723" y="477"/>
                  </a:lnTo>
                  <a:lnTo>
                    <a:pt x="1743" y="513"/>
                  </a:lnTo>
                  <a:lnTo>
                    <a:pt x="1753" y="552"/>
                  </a:lnTo>
                  <a:lnTo>
                    <a:pt x="1759" y="593"/>
                  </a:lnTo>
                  <a:lnTo>
                    <a:pt x="1753" y="633"/>
                  </a:lnTo>
                  <a:lnTo>
                    <a:pt x="1753" y="633"/>
                  </a:lnTo>
                  <a:lnTo>
                    <a:pt x="1753" y="689"/>
                  </a:lnTo>
                  <a:lnTo>
                    <a:pt x="1748" y="753"/>
                  </a:lnTo>
                  <a:lnTo>
                    <a:pt x="1733" y="834"/>
                  </a:lnTo>
                  <a:lnTo>
                    <a:pt x="1708" y="919"/>
                  </a:lnTo>
                  <a:lnTo>
                    <a:pt x="1678" y="1015"/>
                  </a:lnTo>
                  <a:lnTo>
                    <a:pt x="1643" y="1120"/>
                  </a:lnTo>
                  <a:lnTo>
                    <a:pt x="1547" y="1351"/>
                  </a:lnTo>
                  <a:lnTo>
                    <a:pt x="1547" y="1351"/>
                  </a:lnTo>
                  <a:lnTo>
                    <a:pt x="1552" y="1396"/>
                  </a:lnTo>
                  <a:lnTo>
                    <a:pt x="1563" y="1432"/>
                  </a:lnTo>
                  <a:lnTo>
                    <a:pt x="1583" y="1457"/>
                  </a:lnTo>
                  <a:lnTo>
                    <a:pt x="1613" y="1472"/>
                  </a:lnTo>
                  <a:lnTo>
                    <a:pt x="1613" y="1472"/>
                  </a:lnTo>
                  <a:lnTo>
                    <a:pt x="1648" y="1487"/>
                  </a:lnTo>
                  <a:lnTo>
                    <a:pt x="1673" y="1512"/>
                  </a:lnTo>
                  <a:lnTo>
                    <a:pt x="1683" y="1527"/>
                  </a:lnTo>
                  <a:lnTo>
                    <a:pt x="1693" y="1547"/>
                  </a:lnTo>
                  <a:lnTo>
                    <a:pt x="1698" y="1562"/>
                  </a:lnTo>
                  <a:lnTo>
                    <a:pt x="1698" y="1583"/>
                  </a:lnTo>
                  <a:lnTo>
                    <a:pt x="1698" y="1583"/>
                  </a:lnTo>
                  <a:lnTo>
                    <a:pt x="1693" y="2356"/>
                  </a:lnTo>
                  <a:lnTo>
                    <a:pt x="1693" y="2356"/>
                  </a:lnTo>
                  <a:lnTo>
                    <a:pt x="1688" y="2487"/>
                  </a:lnTo>
                  <a:lnTo>
                    <a:pt x="1683" y="2612"/>
                  </a:lnTo>
                  <a:lnTo>
                    <a:pt x="1668" y="2738"/>
                  </a:lnTo>
                  <a:lnTo>
                    <a:pt x="1658" y="2869"/>
                  </a:lnTo>
                  <a:lnTo>
                    <a:pt x="1638" y="2994"/>
                  </a:lnTo>
                  <a:lnTo>
                    <a:pt x="1618" y="3120"/>
                  </a:lnTo>
                  <a:lnTo>
                    <a:pt x="1593" y="3246"/>
                  </a:lnTo>
                  <a:lnTo>
                    <a:pt x="1563" y="3371"/>
                  </a:lnTo>
                  <a:lnTo>
                    <a:pt x="1563" y="3371"/>
                  </a:lnTo>
                  <a:lnTo>
                    <a:pt x="1447" y="3838"/>
                  </a:lnTo>
                  <a:lnTo>
                    <a:pt x="1392" y="4059"/>
                  </a:lnTo>
                  <a:lnTo>
                    <a:pt x="1331" y="4270"/>
                  </a:lnTo>
                  <a:lnTo>
                    <a:pt x="1271" y="4466"/>
                  </a:lnTo>
                  <a:lnTo>
                    <a:pt x="1211" y="4652"/>
                  </a:lnTo>
                  <a:lnTo>
                    <a:pt x="1155" y="4818"/>
                  </a:lnTo>
                  <a:lnTo>
                    <a:pt x="1095" y="4964"/>
                  </a:lnTo>
                  <a:lnTo>
                    <a:pt x="352" y="7179"/>
                  </a:lnTo>
                  <a:lnTo>
                    <a:pt x="352" y="7179"/>
                  </a:lnTo>
                  <a:lnTo>
                    <a:pt x="347" y="7209"/>
                  </a:lnTo>
                  <a:lnTo>
                    <a:pt x="342" y="7240"/>
                  </a:lnTo>
                  <a:lnTo>
                    <a:pt x="347" y="7265"/>
                  </a:lnTo>
                  <a:lnTo>
                    <a:pt x="352" y="7295"/>
                  </a:lnTo>
                  <a:lnTo>
                    <a:pt x="397" y="7601"/>
                  </a:lnTo>
                  <a:lnTo>
                    <a:pt x="397" y="7601"/>
                  </a:lnTo>
                  <a:lnTo>
                    <a:pt x="317" y="7943"/>
                  </a:lnTo>
                  <a:lnTo>
                    <a:pt x="256" y="8260"/>
                  </a:lnTo>
                  <a:lnTo>
                    <a:pt x="206" y="8545"/>
                  </a:lnTo>
                  <a:lnTo>
                    <a:pt x="166" y="8817"/>
                  </a:lnTo>
                  <a:lnTo>
                    <a:pt x="141" y="9063"/>
                  </a:lnTo>
                  <a:lnTo>
                    <a:pt x="121" y="9294"/>
                  </a:lnTo>
                  <a:lnTo>
                    <a:pt x="106" y="9510"/>
                  </a:lnTo>
                  <a:lnTo>
                    <a:pt x="101" y="9716"/>
                  </a:lnTo>
                  <a:lnTo>
                    <a:pt x="101" y="9907"/>
                  </a:lnTo>
                  <a:lnTo>
                    <a:pt x="106" y="10093"/>
                  </a:lnTo>
                  <a:lnTo>
                    <a:pt x="121" y="10440"/>
                  </a:lnTo>
                  <a:lnTo>
                    <a:pt x="141" y="10785"/>
                  </a:lnTo>
                  <a:lnTo>
                    <a:pt x="146" y="10956"/>
                  </a:lnTo>
                  <a:lnTo>
                    <a:pt x="151" y="11137"/>
                  </a:lnTo>
                  <a:lnTo>
                    <a:pt x="151" y="11137"/>
                  </a:lnTo>
                  <a:lnTo>
                    <a:pt x="151" y="11172"/>
                  </a:lnTo>
                  <a:lnTo>
                    <a:pt x="141" y="11207"/>
                  </a:lnTo>
                  <a:lnTo>
                    <a:pt x="131" y="11243"/>
                  </a:lnTo>
                  <a:lnTo>
                    <a:pt x="116" y="11278"/>
                  </a:lnTo>
                  <a:lnTo>
                    <a:pt x="96" y="11308"/>
                  </a:lnTo>
                  <a:lnTo>
                    <a:pt x="96" y="11308"/>
                  </a:lnTo>
                  <a:lnTo>
                    <a:pt x="71" y="11368"/>
                  </a:lnTo>
                  <a:lnTo>
                    <a:pt x="51" y="11428"/>
                  </a:lnTo>
                  <a:lnTo>
                    <a:pt x="46" y="11494"/>
                  </a:lnTo>
                  <a:lnTo>
                    <a:pt x="51" y="11554"/>
                  </a:lnTo>
                  <a:lnTo>
                    <a:pt x="457" y="14398"/>
                  </a:lnTo>
                  <a:lnTo>
                    <a:pt x="457" y="14398"/>
                  </a:lnTo>
                  <a:lnTo>
                    <a:pt x="503" y="14664"/>
                  </a:lnTo>
                  <a:lnTo>
                    <a:pt x="523" y="14794"/>
                  </a:lnTo>
                  <a:lnTo>
                    <a:pt x="538" y="14920"/>
                  </a:lnTo>
                  <a:lnTo>
                    <a:pt x="553" y="15050"/>
                  </a:lnTo>
                  <a:lnTo>
                    <a:pt x="563" y="15176"/>
                  </a:lnTo>
                  <a:lnTo>
                    <a:pt x="568" y="15302"/>
                  </a:lnTo>
                  <a:lnTo>
                    <a:pt x="568" y="15422"/>
                  </a:lnTo>
                  <a:lnTo>
                    <a:pt x="568" y="15548"/>
                  </a:lnTo>
                  <a:lnTo>
                    <a:pt x="563" y="15668"/>
                  </a:lnTo>
                  <a:lnTo>
                    <a:pt x="553" y="15789"/>
                  </a:lnTo>
                  <a:lnTo>
                    <a:pt x="543" y="15910"/>
                  </a:lnTo>
                  <a:lnTo>
                    <a:pt x="528" y="16025"/>
                  </a:lnTo>
                  <a:lnTo>
                    <a:pt x="507" y="16141"/>
                  </a:lnTo>
                  <a:lnTo>
                    <a:pt x="482" y="16256"/>
                  </a:lnTo>
                  <a:lnTo>
                    <a:pt x="457" y="16372"/>
                  </a:lnTo>
                  <a:lnTo>
                    <a:pt x="60" y="17769"/>
                  </a:lnTo>
                  <a:lnTo>
                    <a:pt x="60" y="17769"/>
                  </a:lnTo>
                  <a:lnTo>
                    <a:pt x="40" y="17879"/>
                  </a:lnTo>
                  <a:lnTo>
                    <a:pt x="26" y="17990"/>
                  </a:lnTo>
                  <a:lnTo>
                    <a:pt x="15" y="18100"/>
                  </a:lnTo>
                  <a:lnTo>
                    <a:pt x="5" y="18206"/>
                  </a:lnTo>
                  <a:lnTo>
                    <a:pt x="0" y="18311"/>
                  </a:lnTo>
                  <a:lnTo>
                    <a:pt x="0" y="18417"/>
                  </a:lnTo>
                  <a:lnTo>
                    <a:pt x="0" y="18522"/>
                  </a:lnTo>
                  <a:lnTo>
                    <a:pt x="5" y="18622"/>
                  </a:lnTo>
                  <a:lnTo>
                    <a:pt x="15" y="18723"/>
                  </a:lnTo>
                  <a:lnTo>
                    <a:pt x="30" y="18818"/>
                  </a:lnTo>
                  <a:lnTo>
                    <a:pt x="46" y="18914"/>
                  </a:lnTo>
                  <a:lnTo>
                    <a:pt x="65" y="19010"/>
                  </a:lnTo>
                  <a:lnTo>
                    <a:pt x="90" y="19095"/>
                  </a:lnTo>
                  <a:lnTo>
                    <a:pt x="116" y="19181"/>
                  </a:lnTo>
                  <a:lnTo>
                    <a:pt x="146" y="19266"/>
                  </a:lnTo>
                  <a:lnTo>
                    <a:pt x="181" y="19346"/>
                  </a:lnTo>
                  <a:lnTo>
                    <a:pt x="181" y="19346"/>
                  </a:lnTo>
                  <a:lnTo>
                    <a:pt x="297" y="19416"/>
                  </a:lnTo>
                  <a:lnTo>
                    <a:pt x="422" y="19487"/>
                  </a:lnTo>
                  <a:lnTo>
                    <a:pt x="558" y="19552"/>
                  </a:lnTo>
                  <a:lnTo>
                    <a:pt x="699" y="19612"/>
                  </a:lnTo>
                  <a:lnTo>
                    <a:pt x="849" y="19673"/>
                  </a:lnTo>
                  <a:lnTo>
                    <a:pt x="1005" y="19728"/>
                  </a:lnTo>
                  <a:lnTo>
                    <a:pt x="1171" y="19778"/>
                  </a:lnTo>
                  <a:lnTo>
                    <a:pt x="1342" y="19829"/>
                  </a:lnTo>
                  <a:lnTo>
                    <a:pt x="1517" y="19869"/>
                  </a:lnTo>
                  <a:lnTo>
                    <a:pt x="1698" y="19904"/>
                  </a:lnTo>
                  <a:lnTo>
                    <a:pt x="1884" y="19934"/>
                  </a:lnTo>
                  <a:lnTo>
                    <a:pt x="2075" y="19959"/>
                  </a:lnTo>
                  <a:lnTo>
                    <a:pt x="2266" y="19974"/>
                  </a:lnTo>
                  <a:lnTo>
                    <a:pt x="2467" y="19984"/>
                  </a:lnTo>
                  <a:lnTo>
                    <a:pt x="2668" y="19989"/>
                  </a:lnTo>
                  <a:lnTo>
                    <a:pt x="2868" y="19984"/>
                  </a:lnTo>
                  <a:lnTo>
                    <a:pt x="2868" y="19984"/>
                  </a:lnTo>
                  <a:lnTo>
                    <a:pt x="2989" y="19984"/>
                  </a:lnTo>
                  <a:lnTo>
                    <a:pt x="2989" y="19984"/>
                  </a:lnTo>
                  <a:lnTo>
                    <a:pt x="3189" y="19989"/>
                  </a:lnTo>
                  <a:lnTo>
                    <a:pt x="3390" y="19984"/>
                  </a:lnTo>
                  <a:lnTo>
                    <a:pt x="3591" y="19974"/>
                  </a:lnTo>
                  <a:lnTo>
                    <a:pt x="3782" y="19959"/>
                  </a:lnTo>
                  <a:lnTo>
                    <a:pt x="3973" y="19934"/>
                  </a:lnTo>
                  <a:lnTo>
                    <a:pt x="4159" y="19904"/>
                  </a:lnTo>
                  <a:lnTo>
                    <a:pt x="4340" y="19869"/>
                  </a:lnTo>
                  <a:lnTo>
                    <a:pt x="4516" y="19829"/>
                  </a:lnTo>
                  <a:lnTo>
                    <a:pt x="4686" y="19778"/>
                  </a:lnTo>
                  <a:lnTo>
                    <a:pt x="4847" y="19728"/>
                  </a:lnTo>
                  <a:lnTo>
                    <a:pt x="5008" y="19673"/>
                  </a:lnTo>
                  <a:lnTo>
                    <a:pt x="5153" y="19612"/>
                  </a:lnTo>
                  <a:lnTo>
                    <a:pt x="5299" y="19552"/>
                  </a:lnTo>
                  <a:lnTo>
                    <a:pt x="5430" y="19487"/>
                  </a:lnTo>
                  <a:lnTo>
                    <a:pt x="5556" y="19416"/>
                  </a:lnTo>
                  <a:lnTo>
                    <a:pt x="5676" y="19346"/>
                  </a:lnTo>
                  <a:lnTo>
                    <a:pt x="5676" y="19346"/>
                  </a:lnTo>
                  <a:lnTo>
                    <a:pt x="5711" y="19266"/>
                  </a:lnTo>
                  <a:lnTo>
                    <a:pt x="5741" y="19181"/>
                  </a:lnTo>
                  <a:lnTo>
                    <a:pt x="5766" y="19095"/>
                  </a:lnTo>
                  <a:lnTo>
                    <a:pt x="5791" y="19010"/>
                  </a:lnTo>
                  <a:lnTo>
                    <a:pt x="5812" y="18914"/>
                  </a:lnTo>
                  <a:lnTo>
                    <a:pt x="5827" y="18818"/>
                  </a:lnTo>
                  <a:lnTo>
                    <a:pt x="5842" y="18723"/>
                  </a:lnTo>
                  <a:lnTo>
                    <a:pt x="5852" y="18622"/>
                  </a:lnTo>
                  <a:lnTo>
                    <a:pt x="5857" y="18522"/>
                  </a:lnTo>
                  <a:lnTo>
                    <a:pt x="5857" y="18417"/>
                  </a:lnTo>
                  <a:lnTo>
                    <a:pt x="5857" y="18311"/>
                  </a:lnTo>
                  <a:lnTo>
                    <a:pt x="5852" y="18206"/>
                  </a:lnTo>
                  <a:lnTo>
                    <a:pt x="5842" y="18100"/>
                  </a:lnTo>
                  <a:lnTo>
                    <a:pt x="5832" y="17990"/>
                  </a:lnTo>
                  <a:lnTo>
                    <a:pt x="5817" y="17879"/>
                  </a:lnTo>
                  <a:lnTo>
                    <a:pt x="5796" y="17769"/>
                  </a:lnTo>
                </a:path>
              </a:pathLst>
            </a:custGeom>
            <a:noFill/>
            <a:ln w="12700">
              <a:solidFill>
                <a:schemeClr val="bg1">
                  <a:alpha val="30000"/>
                </a:schemeClr>
              </a:solidFill>
            </a:ln>
            <a:effectLst/>
          </p:spPr>
          <p:txBody>
            <a:bodyPr wrap="none" anchor="ctr"/>
            <a:lstStyle/>
            <a:p>
              <a:endParaRPr lang="en-US" sz="1709"/>
            </a:p>
          </p:txBody>
        </p:sp>
        <p:cxnSp>
          <p:nvCxnSpPr>
            <p:cNvPr id="18" name="Straight Connector 17">
              <a:extLst>
                <a:ext uri="{FF2B5EF4-FFF2-40B4-BE49-F238E27FC236}">
                  <a16:creationId xmlns:a16="http://schemas.microsoft.com/office/drawing/2014/main" id="{144CF631-195D-5742-BCE7-86133F62121F}"/>
                </a:ext>
              </a:extLst>
            </p:cNvPr>
            <p:cNvCxnSpPr>
              <a:stCxn id="9" idx="11"/>
            </p:cNvCxnSpPr>
            <p:nvPr userDrawn="1"/>
          </p:nvCxnSpPr>
          <p:spPr>
            <a:xfrm flipH="1" flipV="1">
              <a:off x="3049434" y="3435531"/>
              <a:ext cx="1379446" cy="1751"/>
            </a:xfrm>
            <a:prstGeom prst="line">
              <a:avLst/>
            </a:prstGeom>
            <a:noFill/>
            <a:ln w="12700">
              <a:solidFill>
                <a:schemeClr val="bg1">
                  <a:alpha val="30000"/>
                </a:schemeClr>
              </a:solidFill>
            </a:ln>
            <a:effectLst/>
          </p:spPr>
        </p:cxnSp>
        <p:cxnSp>
          <p:nvCxnSpPr>
            <p:cNvPr id="19" name="Straight Connector 18">
              <a:extLst>
                <a:ext uri="{FF2B5EF4-FFF2-40B4-BE49-F238E27FC236}">
                  <a16:creationId xmlns:a16="http://schemas.microsoft.com/office/drawing/2014/main" id="{C0182676-9672-1343-BA40-3F7A37BCE571}"/>
                </a:ext>
              </a:extLst>
            </p:cNvPr>
            <p:cNvCxnSpPr/>
            <p:nvPr userDrawn="1"/>
          </p:nvCxnSpPr>
          <p:spPr>
            <a:xfrm flipH="1" flipV="1">
              <a:off x="8411737" y="3435531"/>
              <a:ext cx="1379446" cy="1751"/>
            </a:xfrm>
            <a:prstGeom prst="line">
              <a:avLst/>
            </a:prstGeom>
            <a:noFill/>
            <a:ln w="12700">
              <a:solidFill>
                <a:schemeClr val="bg1">
                  <a:alpha val="30000"/>
                </a:schemeClr>
              </a:solidFill>
            </a:ln>
            <a:effectLst/>
          </p:spPr>
        </p:cxnSp>
      </p:grpSp>
    </p:spTree>
    <p:extLst>
      <p:ext uri="{BB962C8B-B14F-4D97-AF65-F5344CB8AC3E}">
        <p14:creationId xmlns:p14="http://schemas.microsoft.com/office/powerpoint/2010/main" val="360781052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 Bright Red">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802A15F-C948-764C-B86C-5C904950A48C}"/>
              </a:ext>
            </a:extLst>
          </p:cNvPr>
          <p:cNvSpPr>
            <a:spLocks noGrp="1"/>
          </p:cNvSpPr>
          <p:nvPr userDrawn="1">
            <p:ph type="body" sz="quarter" idx="10"/>
          </p:nvPr>
        </p:nvSpPr>
        <p:spPr>
          <a:xfrm>
            <a:off x="767509" y="2079133"/>
            <a:ext cx="10656982" cy="1182734"/>
          </a:xfrm>
        </p:spPr>
        <p:txBody>
          <a:bodyPr>
            <a:normAutofit/>
          </a:bodyPr>
          <a:lstStyle>
            <a:lvl1pPr marL="0" indent="0" algn="ctr">
              <a:buNone/>
              <a:defRPr sz="5127" b="1">
                <a:solidFill>
                  <a:schemeClr val="bg1"/>
                </a:solidFill>
              </a:defRPr>
            </a:lvl1pPr>
          </a:lstStyle>
          <a:p>
            <a:pPr lvl="0"/>
            <a:r>
              <a:rPr lang="en-US"/>
              <a:t>Edit Master text styles</a:t>
            </a:r>
          </a:p>
        </p:txBody>
      </p:sp>
      <p:sp>
        <p:nvSpPr>
          <p:cNvPr id="6" name="Text Placeholder 3">
            <a:extLst>
              <a:ext uri="{FF2B5EF4-FFF2-40B4-BE49-F238E27FC236}">
                <a16:creationId xmlns:a16="http://schemas.microsoft.com/office/drawing/2014/main" id="{D05DE4B8-41A9-3147-9BFB-3C66B4CD6D89}"/>
              </a:ext>
            </a:extLst>
          </p:cNvPr>
          <p:cNvSpPr>
            <a:spLocks noGrp="1"/>
          </p:cNvSpPr>
          <p:nvPr userDrawn="1">
            <p:ph type="body" sz="quarter" idx="11"/>
          </p:nvPr>
        </p:nvSpPr>
        <p:spPr>
          <a:xfrm>
            <a:off x="767509" y="3261867"/>
            <a:ext cx="10656982" cy="1182734"/>
          </a:xfrm>
        </p:spPr>
        <p:txBody>
          <a:bodyPr>
            <a:normAutofit/>
          </a:bodyPr>
          <a:lstStyle>
            <a:lvl1pPr marL="0" indent="0" algn="ctr">
              <a:buNone/>
              <a:defRPr sz="3038" b="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94CEB44B-DDC5-8641-A07D-856C15F35C00}"/>
              </a:ext>
            </a:extLst>
          </p:cNvPr>
          <p:cNvGrpSpPr/>
          <p:nvPr userDrawn="1"/>
        </p:nvGrpSpPr>
        <p:grpSpPr>
          <a:xfrm>
            <a:off x="2895249" y="1031973"/>
            <a:ext cx="6400869" cy="4794057"/>
            <a:chOff x="3049434" y="1086914"/>
            <a:chExt cx="6741749" cy="5049296"/>
          </a:xfrm>
        </p:grpSpPr>
        <p:sp>
          <p:nvSpPr>
            <p:cNvPr id="8" name="Freeform 7">
              <a:extLst>
                <a:ext uri="{FF2B5EF4-FFF2-40B4-BE49-F238E27FC236}">
                  <a16:creationId xmlns:a16="http://schemas.microsoft.com/office/drawing/2014/main" id="{36AA2089-9E6C-7149-AF25-C7588686F223}"/>
                </a:ext>
              </a:extLst>
            </p:cNvPr>
            <p:cNvSpPr>
              <a:spLocks noChangeArrowheads="1"/>
            </p:cNvSpPr>
            <p:nvPr/>
          </p:nvSpPr>
          <p:spPr bwMode="auto">
            <a:xfrm>
              <a:off x="3693267" y="1937932"/>
              <a:ext cx="1157338" cy="3570041"/>
            </a:xfrm>
            <a:custGeom>
              <a:avLst/>
              <a:gdLst>
                <a:gd name="T0" fmla="*/ 2065 w 4583"/>
                <a:gd name="T1" fmla="*/ 14101 h 14132"/>
                <a:gd name="T2" fmla="*/ 1743 w 4583"/>
                <a:gd name="T3" fmla="*/ 13981 h 14132"/>
                <a:gd name="T4" fmla="*/ 1513 w 4583"/>
                <a:gd name="T5" fmla="*/ 13910 h 14132"/>
                <a:gd name="T6" fmla="*/ 1276 w 4583"/>
                <a:gd name="T7" fmla="*/ 13956 h 14132"/>
                <a:gd name="T8" fmla="*/ 784 w 4583"/>
                <a:gd name="T9" fmla="*/ 14036 h 14132"/>
                <a:gd name="T10" fmla="*/ 402 w 4583"/>
                <a:gd name="T11" fmla="*/ 13870 h 14132"/>
                <a:gd name="T12" fmla="*/ 166 w 4583"/>
                <a:gd name="T13" fmla="*/ 13453 h 14132"/>
                <a:gd name="T14" fmla="*/ 30 w 4583"/>
                <a:gd name="T15" fmla="*/ 12956 h 14132"/>
                <a:gd name="T16" fmla="*/ 0 w 4583"/>
                <a:gd name="T17" fmla="*/ 12378 h 14132"/>
                <a:gd name="T18" fmla="*/ 166 w 4583"/>
                <a:gd name="T19" fmla="*/ 7049 h 14132"/>
                <a:gd name="T20" fmla="*/ 60 w 4583"/>
                <a:gd name="T21" fmla="*/ 6762 h 14132"/>
                <a:gd name="T22" fmla="*/ 51 w 4583"/>
                <a:gd name="T23" fmla="*/ 6445 h 14132"/>
                <a:gd name="T24" fmla="*/ 256 w 4583"/>
                <a:gd name="T25" fmla="*/ 5793 h 14132"/>
                <a:gd name="T26" fmla="*/ 272 w 4583"/>
                <a:gd name="T27" fmla="*/ 5667 h 14132"/>
                <a:gd name="T28" fmla="*/ 116 w 4583"/>
                <a:gd name="T29" fmla="*/ 5396 h 14132"/>
                <a:gd name="T30" fmla="*/ 71 w 4583"/>
                <a:gd name="T31" fmla="*/ 4969 h 14132"/>
                <a:gd name="T32" fmla="*/ 116 w 4583"/>
                <a:gd name="T33" fmla="*/ 4522 h 14132"/>
                <a:gd name="T34" fmla="*/ 910 w 4583"/>
                <a:gd name="T35" fmla="*/ 2708 h 14132"/>
                <a:gd name="T36" fmla="*/ 1261 w 4583"/>
                <a:gd name="T37" fmla="*/ 2155 h 14132"/>
                <a:gd name="T38" fmla="*/ 1412 w 4583"/>
                <a:gd name="T39" fmla="*/ 1884 h 14132"/>
                <a:gd name="T40" fmla="*/ 1467 w 4583"/>
                <a:gd name="T41" fmla="*/ 1568 h 14132"/>
                <a:gd name="T42" fmla="*/ 1492 w 4583"/>
                <a:gd name="T43" fmla="*/ 1065 h 14132"/>
                <a:gd name="T44" fmla="*/ 1452 w 4583"/>
                <a:gd name="T45" fmla="*/ 879 h 14132"/>
                <a:gd name="T46" fmla="*/ 1367 w 4583"/>
                <a:gd name="T47" fmla="*/ 699 h 14132"/>
                <a:gd name="T48" fmla="*/ 1382 w 4583"/>
                <a:gd name="T49" fmla="*/ 302 h 14132"/>
                <a:gd name="T50" fmla="*/ 1447 w 4583"/>
                <a:gd name="T51" fmla="*/ 146 h 14132"/>
                <a:gd name="T52" fmla="*/ 1558 w 4583"/>
                <a:gd name="T53" fmla="*/ 81 h 14132"/>
                <a:gd name="T54" fmla="*/ 2291 w 4583"/>
                <a:gd name="T55" fmla="*/ 0 h 14132"/>
                <a:gd name="T56" fmla="*/ 3025 w 4583"/>
                <a:gd name="T57" fmla="*/ 81 h 14132"/>
                <a:gd name="T58" fmla="*/ 3115 w 4583"/>
                <a:gd name="T59" fmla="*/ 131 h 14132"/>
                <a:gd name="T60" fmla="*/ 3175 w 4583"/>
                <a:gd name="T61" fmla="*/ 216 h 14132"/>
                <a:gd name="T62" fmla="*/ 3226 w 4583"/>
                <a:gd name="T63" fmla="*/ 623 h 14132"/>
                <a:gd name="T64" fmla="*/ 3150 w 4583"/>
                <a:gd name="T65" fmla="*/ 859 h 14132"/>
                <a:gd name="T66" fmla="*/ 3095 w 4583"/>
                <a:gd name="T67" fmla="*/ 1000 h 14132"/>
                <a:gd name="T68" fmla="*/ 3110 w 4583"/>
                <a:gd name="T69" fmla="*/ 1537 h 14132"/>
                <a:gd name="T70" fmla="*/ 3150 w 4583"/>
                <a:gd name="T71" fmla="*/ 1809 h 14132"/>
                <a:gd name="T72" fmla="*/ 3321 w 4583"/>
                <a:gd name="T73" fmla="*/ 2155 h 14132"/>
                <a:gd name="T74" fmla="*/ 3602 w 4583"/>
                <a:gd name="T75" fmla="*/ 2577 h 14132"/>
                <a:gd name="T76" fmla="*/ 4175 w 4583"/>
                <a:gd name="T77" fmla="*/ 3808 h 14132"/>
                <a:gd name="T78" fmla="*/ 4512 w 4583"/>
                <a:gd name="T79" fmla="*/ 4858 h 14132"/>
                <a:gd name="T80" fmla="*/ 4467 w 4583"/>
                <a:gd name="T81" fmla="*/ 5396 h 14132"/>
                <a:gd name="T82" fmla="*/ 4316 w 4583"/>
                <a:gd name="T83" fmla="*/ 5637 h 14132"/>
                <a:gd name="T84" fmla="*/ 4326 w 4583"/>
                <a:gd name="T85" fmla="*/ 5793 h 14132"/>
                <a:gd name="T86" fmla="*/ 4522 w 4583"/>
                <a:gd name="T87" fmla="*/ 6375 h 14132"/>
                <a:gd name="T88" fmla="*/ 4532 w 4583"/>
                <a:gd name="T89" fmla="*/ 6702 h 14132"/>
                <a:gd name="T90" fmla="*/ 4446 w 4583"/>
                <a:gd name="T91" fmla="*/ 6993 h 14132"/>
                <a:gd name="T92" fmla="*/ 4582 w 4583"/>
                <a:gd name="T93" fmla="*/ 12378 h 14132"/>
                <a:gd name="T94" fmla="*/ 4567 w 4583"/>
                <a:gd name="T95" fmla="*/ 12845 h 14132"/>
                <a:gd name="T96" fmla="*/ 4451 w 4583"/>
                <a:gd name="T97" fmla="*/ 13358 h 14132"/>
                <a:gd name="T98" fmla="*/ 4235 w 4583"/>
                <a:gd name="T99" fmla="*/ 13790 h 14132"/>
                <a:gd name="T100" fmla="*/ 3904 w 4583"/>
                <a:gd name="T101" fmla="*/ 14015 h 14132"/>
                <a:gd name="T102" fmla="*/ 3401 w 4583"/>
                <a:gd name="T103" fmla="*/ 13996 h 14132"/>
                <a:gd name="T104" fmla="*/ 3130 w 4583"/>
                <a:gd name="T105" fmla="*/ 13910 h 14132"/>
                <a:gd name="T106" fmla="*/ 2838 w 4583"/>
                <a:gd name="T107" fmla="*/ 13981 h 14132"/>
                <a:gd name="T108" fmla="*/ 2587 w 4583"/>
                <a:gd name="T109" fmla="*/ 14086 h 1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83" h="14132">
                  <a:moveTo>
                    <a:pt x="2291" y="14131"/>
                  </a:moveTo>
                  <a:lnTo>
                    <a:pt x="2291" y="14131"/>
                  </a:lnTo>
                  <a:lnTo>
                    <a:pt x="2216" y="14127"/>
                  </a:lnTo>
                  <a:lnTo>
                    <a:pt x="2140" y="14116"/>
                  </a:lnTo>
                  <a:lnTo>
                    <a:pt x="2065" y="14101"/>
                  </a:lnTo>
                  <a:lnTo>
                    <a:pt x="1994" y="14086"/>
                  </a:lnTo>
                  <a:lnTo>
                    <a:pt x="1930" y="14066"/>
                  </a:lnTo>
                  <a:lnTo>
                    <a:pt x="1864" y="14041"/>
                  </a:lnTo>
                  <a:lnTo>
                    <a:pt x="1799" y="14011"/>
                  </a:lnTo>
                  <a:lnTo>
                    <a:pt x="1743" y="13981"/>
                  </a:lnTo>
                  <a:lnTo>
                    <a:pt x="1743" y="13981"/>
                  </a:lnTo>
                  <a:lnTo>
                    <a:pt x="1688" y="13951"/>
                  </a:lnTo>
                  <a:lnTo>
                    <a:pt x="1633" y="13931"/>
                  </a:lnTo>
                  <a:lnTo>
                    <a:pt x="1572" y="13915"/>
                  </a:lnTo>
                  <a:lnTo>
                    <a:pt x="1513" y="13910"/>
                  </a:lnTo>
                  <a:lnTo>
                    <a:pt x="1452" y="13910"/>
                  </a:lnTo>
                  <a:lnTo>
                    <a:pt x="1392" y="13920"/>
                  </a:lnTo>
                  <a:lnTo>
                    <a:pt x="1332" y="13935"/>
                  </a:lnTo>
                  <a:lnTo>
                    <a:pt x="1276" y="13956"/>
                  </a:lnTo>
                  <a:lnTo>
                    <a:pt x="1276" y="13956"/>
                  </a:lnTo>
                  <a:lnTo>
                    <a:pt x="1181" y="13996"/>
                  </a:lnTo>
                  <a:lnTo>
                    <a:pt x="1086" y="14026"/>
                  </a:lnTo>
                  <a:lnTo>
                    <a:pt x="985" y="14041"/>
                  </a:lnTo>
                  <a:lnTo>
                    <a:pt x="884" y="14046"/>
                  </a:lnTo>
                  <a:lnTo>
                    <a:pt x="784" y="14036"/>
                  </a:lnTo>
                  <a:lnTo>
                    <a:pt x="678" y="14015"/>
                  </a:lnTo>
                  <a:lnTo>
                    <a:pt x="568" y="13986"/>
                  </a:lnTo>
                  <a:lnTo>
                    <a:pt x="462" y="13940"/>
                  </a:lnTo>
                  <a:lnTo>
                    <a:pt x="462" y="13940"/>
                  </a:lnTo>
                  <a:lnTo>
                    <a:pt x="402" y="13870"/>
                  </a:lnTo>
                  <a:lnTo>
                    <a:pt x="347" y="13790"/>
                  </a:lnTo>
                  <a:lnTo>
                    <a:pt x="297" y="13709"/>
                  </a:lnTo>
                  <a:lnTo>
                    <a:pt x="247" y="13629"/>
                  </a:lnTo>
                  <a:lnTo>
                    <a:pt x="206" y="13543"/>
                  </a:lnTo>
                  <a:lnTo>
                    <a:pt x="166" y="13453"/>
                  </a:lnTo>
                  <a:lnTo>
                    <a:pt x="131" y="13358"/>
                  </a:lnTo>
                  <a:lnTo>
                    <a:pt x="101" y="13262"/>
                  </a:lnTo>
                  <a:lnTo>
                    <a:pt x="71" y="13162"/>
                  </a:lnTo>
                  <a:lnTo>
                    <a:pt x="51" y="13061"/>
                  </a:lnTo>
                  <a:lnTo>
                    <a:pt x="30" y="12956"/>
                  </a:lnTo>
                  <a:lnTo>
                    <a:pt x="15" y="12845"/>
                  </a:lnTo>
                  <a:lnTo>
                    <a:pt x="5" y="12735"/>
                  </a:lnTo>
                  <a:lnTo>
                    <a:pt x="0" y="12619"/>
                  </a:lnTo>
                  <a:lnTo>
                    <a:pt x="0" y="12498"/>
                  </a:lnTo>
                  <a:lnTo>
                    <a:pt x="0" y="12378"/>
                  </a:lnTo>
                  <a:lnTo>
                    <a:pt x="231" y="11805"/>
                  </a:lnTo>
                  <a:lnTo>
                    <a:pt x="231" y="7153"/>
                  </a:lnTo>
                  <a:lnTo>
                    <a:pt x="231" y="7153"/>
                  </a:lnTo>
                  <a:lnTo>
                    <a:pt x="196" y="7099"/>
                  </a:lnTo>
                  <a:lnTo>
                    <a:pt x="166" y="7049"/>
                  </a:lnTo>
                  <a:lnTo>
                    <a:pt x="141" y="6993"/>
                  </a:lnTo>
                  <a:lnTo>
                    <a:pt x="116" y="6938"/>
                  </a:lnTo>
                  <a:lnTo>
                    <a:pt x="96" y="6883"/>
                  </a:lnTo>
                  <a:lnTo>
                    <a:pt x="76" y="6822"/>
                  </a:lnTo>
                  <a:lnTo>
                    <a:pt x="60" y="6762"/>
                  </a:lnTo>
                  <a:lnTo>
                    <a:pt x="55" y="6702"/>
                  </a:lnTo>
                  <a:lnTo>
                    <a:pt x="46" y="6641"/>
                  </a:lnTo>
                  <a:lnTo>
                    <a:pt x="46" y="6576"/>
                  </a:lnTo>
                  <a:lnTo>
                    <a:pt x="46" y="6511"/>
                  </a:lnTo>
                  <a:lnTo>
                    <a:pt x="51" y="6445"/>
                  </a:lnTo>
                  <a:lnTo>
                    <a:pt x="60" y="6375"/>
                  </a:lnTo>
                  <a:lnTo>
                    <a:pt x="76" y="6305"/>
                  </a:lnTo>
                  <a:lnTo>
                    <a:pt x="96" y="6235"/>
                  </a:lnTo>
                  <a:lnTo>
                    <a:pt x="116" y="6160"/>
                  </a:lnTo>
                  <a:lnTo>
                    <a:pt x="256" y="5793"/>
                  </a:lnTo>
                  <a:lnTo>
                    <a:pt x="256" y="5793"/>
                  </a:lnTo>
                  <a:lnTo>
                    <a:pt x="267" y="5763"/>
                  </a:lnTo>
                  <a:lnTo>
                    <a:pt x="272" y="5732"/>
                  </a:lnTo>
                  <a:lnTo>
                    <a:pt x="277" y="5702"/>
                  </a:lnTo>
                  <a:lnTo>
                    <a:pt x="272" y="5667"/>
                  </a:lnTo>
                  <a:lnTo>
                    <a:pt x="267" y="5637"/>
                  </a:lnTo>
                  <a:lnTo>
                    <a:pt x="256" y="5607"/>
                  </a:lnTo>
                  <a:lnTo>
                    <a:pt x="247" y="5576"/>
                  </a:lnTo>
                  <a:lnTo>
                    <a:pt x="226" y="5551"/>
                  </a:lnTo>
                  <a:lnTo>
                    <a:pt x="116" y="5396"/>
                  </a:lnTo>
                  <a:lnTo>
                    <a:pt x="116" y="5396"/>
                  </a:lnTo>
                  <a:lnTo>
                    <a:pt x="96" y="5290"/>
                  </a:lnTo>
                  <a:lnTo>
                    <a:pt x="80" y="5185"/>
                  </a:lnTo>
                  <a:lnTo>
                    <a:pt x="71" y="5079"/>
                  </a:lnTo>
                  <a:lnTo>
                    <a:pt x="71" y="4969"/>
                  </a:lnTo>
                  <a:lnTo>
                    <a:pt x="71" y="4858"/>
                  </a:lnTo>
                  <a:lnTo>
                    <a:pt x="80" y="4748"/>
                  </a:lnTo>
                  <a:lnTo>
                    <a:pt x="96" y="4632"/>
                  </a:lnTo>
                  <a:lnTo>
                    <a:pt x="116" y="4522"/>
                  </a:lnTo>
                  <a:lnTo>
                    <a:pt x="116" y="4522"/>
                  </a:lnTo>
                  <a:lnTo>
                    <a:pt x="407" y="3808"/>
                  </a:lnTo>
                  <a:lnTo>
                    <a:pt x="553" y="3466"/>
                  </a:lnTo>
                  <a:lnTo>
                    <a:pt x="694" y="3145"/>
                  </a:lnTo>
                  <a:lnTo>
                    <a:pt x="840" y="2848"/>
                  </a:lnTo>
                  <a:lnTo>
                    <a:pt x="910" y="2708"/>
                  </a:lnTo>
                  <a:lnTo>
                    <a:pt x="980" y="2577"/>
                  </a:lnTo>
                  <a:lnTo>
                    <a:pt x="1050" y="2457"/>
                  </a:lnTo>
                  <a:lnTo>
                    <a:pt x="1121" y="2346"/>
                  </a:lnTo>
                  <a:lnTo>
                    <a:pt x="1191" y="2246"/>
                  </a:lnTo>
                  <a:lnTo>
                    <a:pt x="1261" y="2155"/>
                  </a:lnTo>
                  <a:lnTo>
                    <a:pt x="1261" y="2155"/>
                  </a:lnTo>
                  <a:lnTo>
                    <a:pt x="1312" y="2090"/>
                  </a:lnTo>
                  <a:lnTo>
                    <a:pt x="1351" y="2025"/>
                  </a:lnTo>
                  <a:lnTo>
                    <a:pt x="1382" y="1954"/>
                  </a:lnTo>
                  <a:lnTo>
                    <a:pt x="1412" y="1884"/>
                  </a:lnTo>
                  <a:lnTo>
                    <a:pt x="1432" y="1809"/>
                  </a:lnTo>
                  <a:lnTo>
                    <a:pt x="1452" y="1733"/>
                  </a:lnTo>
                  <a:lnTo>
                    <a:pt x="1462" y="1653"/>
                  </a:lnTo>
                  <a:lnTo>
                    <a:pt x="1467" y="1568"/>
                  </a:lnTo>
                  <a:lnTo>
                    <a:pt x="1467" y="1568"/>
                  </a:lnTo>
                  <a:lnTo>
                    <a:pt x="1472" y="1537"/>
                  </a:lnTo>
                  <a:lnTo>
                    <a:pt x="1477" y="1472"/>
                  </a:lnTo>
                  <a:lnTo>
                    <a:pt x="1482" y="1301"/>
                  </a:lnTo>
                  <a:lnTo>
                    <a:pt x="1492" y="1065"/>
                  </a:lnTo>
                  <a:lnTo>
                    <a:pt x="1492" y="1065"/>
                  </a:lnTo>
                  <a:lnTo>
                    <a:pt x="1487" y="1000"/>
                  </a:lnTo>
                  <a:lnTo>
                    <a:pt x="1487" y="965"/>
                  </a:lnTo>
                  <a:lnTo>
                    <a:pt x="1477" y="934"/>
                  </a:lnTo>
                  <a:lnTo>
                    <a:pt x="1467" y="904"/>
                  </a:lnTo>
                  <a:lnTo>
                    <a:pt x="1452" y="879"/>
                  </a:lnTo>
                  <a:lnTo>
                    <a:pt x="1432" y="859"/>
                  </a:lnTo>
                  <a:lnTo>
                    <a:pt x="1407" y="839"/>
                  </a:lnTo>
                  <a:lnTo>
                    <a:pt x="1407" y="839"/>
                  </a:lnTo>
                  <a:lnTo>
                    <a:pt x="1382" y="769"/>
                  </a:lnTo>
                  <a:lnTo>
                    <a:pt x="1367" y="699"/>
                  </a:lnTo>
                  <a:lnTo>
                    <a:pt x="1357" y="623"/>
                  </a:lnTo>
                  <a:lnTo>
                    <a:pt x="1351" y="548"/>
                  </a:lnTo>
                  <a:lnTo>
                    <a:pt x="1351" y="467"/>
                  </a:lnTo>
                  <a:lnTo>
                    <a:pt x="1367" y="387"/>
                  </a:lnTo>
                  <a:lnTo>
                    <a:pt x="1382" y="302"/>
                  </a:lnTo>
                  <a:lnTo>
                    <a:pt x="1407" y="216"/>
                  </a:lnTo>
                  <a:lnTo>
                    <a:pt x="1407" y="216"/>
                  </a:lnTo>
                  <a:lnTo>
                    <a:pt x="1417" y="191"/>
                  </a:lnTo>
                  <a:lnTo>
                    <a:pt x="1432" y="171"/>
                  </a:lnTo>
                  <a:lnTo>
                    <a:pt x="1447" y="146"/>
                  </a:lnTo>
                  <a:lnTo>
                    <a:pt x="1467" y="131"/>
                  </a:lnTo>
                  <a:lnTo>
                    <a:pt x="1487" y="110"/>
                  </a:lnTo>
                  <a:lnTo>
                    <a:pt x="1508" y="101"/>
                  </a:lnTo>
                  <a:lnTo>
                    <a:pt x="1533" y="90"/>
                  </a:lnTo>
                  <a:lnTo>
                    <a:pt x="1558" y="81"/>
                  </a:lnTo>
                  <a:lnTo>
                    <a:pt x="1558" y="81"/>
                  </a:lnTo>
                  <a:lnTo>
                    <a:pt x="1723" y="55"/>
                  </a:lnTo>
                  <a:lnTo>
                    <a:pt x="1894" y="30"/>
                  </a:lnTo>
                  <a:lnTo>
                    <a:pt x="2085" y="15"/>
                  </a:lnTo>
                  <a:lnTo>
                    <a:pt x="2291" y="0"/>
                  </a:lnTo>
                  <a:lnTo>
                    <a:pt x="2291" y="0"/>
                  </a:lnTo>
                  <a:lnTo>
                    <a:pt x="2497" y="15"/>
                  </a:lnTo>
                  <a:lnTo>
                    <a:pt x="2688" y="30"/>
                  </a:lnTo>
                  <a:lnTo>
                    <a:pt x="2859" y="55"/>
                  </a:lnTo>
                  <a:lnTo>
                    <a:pt x="3025" y="81"/>
                  </a:lnTo>
                  <a:lnTo>
                    <a:pt x="3025" y="81"/>
                  </a:lnTo>
                  <a:lnTo>
                    <a:pt x="3050" y="90"/>
                  </a:lnTo>
                  <a:lnTo>
                    <a:pt x="3075" y="101"/>
                  </a:lnTo>
                  <a:lnTo>
                    <a:pt x="3095" y="110"/>
                  </a:lnTo>
                  <a:lnTo>
                    <a:pt x="3115" y="131"/>
                  </a:lnTo>
                  <a:lnTo>
                    <a:pt x="3135" y="146"/>
                  </a:lnTo>
                  <a:lnTo>
                    <a:pt x="3150" y="171"/>
                  </a:lnTo>
                  <a:lnTo>
                    <a:pt x="3165" y="191"/>
                  </a:lnTo>
                  <a:lnTo>
                    <a:pt x="3175" y="216"/>
                  </a:lnTo>
                  <a:lnTo>
                    <a:pt x="3175" y="216"/>
                  </a:lnTo>
                  <a:lnTo>
                    <a:pt x="3201" y="302"/>
                  </a:lnTo>
                  <a:lnTo>
                    <a:pt x="3221" y="387"/>
                  </a:lnTo>
                  <a:lnTo>
                    <a:pt x="3230" y="467"/>
                  </a:lnTo>
                  <a:lnTo>
                    <a:pt x="3230" y="548"/>
                  </a:lnTo>
                  <a:lnTo>
                    <a:pt x="3226" y="623"/>
                  </a:lnTo>
                  <a:lnTo>
                    <a:pt x="3215" y="699"/>
                  </a:lnTo>
                  <a:lnTo>
                    <a:pt x="3201" y="769"/>
                  </a:lnTo>
                  <a:lnTo>
                    <a:pt x="3175" y="839"/>
                  </a:lnTo>
                  <a:lnTo>
                    <a:pt x="3175" y="839"/>
                  </a:lnTo>
                  <a:lnTo>
                    <a:pt x="3150" y="859"/>
                  </a:lnTo>
                  <a:lnTo>
                    <a:pt x="3130" y="879"/>
                  </a:lnTo>
                  <a:lnTo>
                    <a:pt x="3115" y="904"/>
                  </a:lnTo>
                  <a:lnTo>
                    <a:pt x="3105" y="934"/>
                  </a:lnTo>
                  <a:lnTo>
                    <a:pt x="3095" y="965"/>
                  </a:lnTo>
                  <a:lnTo>
                    <a:pt x="3095" y="1000"/>
                  </a:lnTo>
                  <a:lnTo>
                    <a:pt x="3095" y="1065"/>
                  </a:lnTo>
                  <a:lnTo>
                    <a:pt x="3095" y="1065"/>
                  </a:lnTo>
                  <a:lnTo>
                    <a:pt x="3100" y="1301"/>
                  </a:lnTo>
                  <a:lnTo>
                    <a:pt x="3105" y="1472"/>
                  </a:lnTo>
                  <a:lnTo>
                    <a:pt x="3110" y="1537"/>
                  </a:lnTo>
                  <a:lnTo>
                    <a:pt x="3115" y="1568"/>
                  </a:lnTo>
                  <a:lnTo>
                    <a:pt x="3115" y="1568"/>
                  </a:lnTo>
                  <a:lnTo>
                    <a:pt x="3120" y="1653"/>
                  </a:lnTo>
                  <a:lnTo>
                    <a:pt x="3130" y="1733"/>
                  </a:lnTo>
                  <a:lnTo>
                    <a:pt x="3150" y="1809"/>
                  </a:lnTo>
                  <a:lnTo>
                    <a:pt x="3170" y="1884"/>
                  </a:lnTo>
                  <a:lnTo>
                    <a:pt x="3201" y="1954"/>
                  </a:lnTo>
                  <a:lnTo>
                    <a:pt x="3230" y="2025"/>
                  </a:lnTo>
                  <a:lnTo>
                    <a:pt x="3276" y="2090"/>
                  </a:lnTo>
                  <a:lnTo>
                    <a:pt x="3321" y="2155"/>
                  </a:lnTo>
                  <a:lnTo>
                    <a:pt x="3321" y="2155"/>
                  </a:lnTo>
                  <a:lnTo>
                    <a:pt x="3391" y="2246"/>
                  </a:lnTo>
                  <a:lnTo>
                    <a:pt x="3461" y="2346"/>
                  </a:lnTo>
                  <a:lnTo>
                    <a:pt x="3532" y="2457"/>
                  </a:lnTo>
                  <a:lnTo>
                    <a:pt x="3602" y="2577"/>
                  </a:lnTo>
                  <a:lnTo>
                    <a:pt x="3673" y="2708"/>
                  </a:lnTo>
                  <a:lnTo>
                    <a:pt x="3743" y="2848"/>
                  </a:lnTo>
                  <a:lnTo>
                    <a:pt x="3889" y="3145"/>
                  </a:lnTo>
                  <a:lnTo>
                    <a:pt x="4029" y="3466"/>
                  </a:lnTo>
                  <a:lnTo>
                    <a:pt x="4175" y="3808"/>
                  </a:lnTo>
                  <a:lnTo>
                    <a:pt x="4467" y="4522"/>
                  </a:lnTo>
                  <a:lnTo>
                    <a:pt x="4467" y="4522"/>
                  </a:lnTo>
                  <a:lnTo>
                    <a:pt x="4487" y="4632"/>
                  </a:lnTo>
                  <a:lnTo>
                    <a:pt x="4501" y="4748"/>
                  </a:lnTo>
                  <a:lnTo>
                    <a:pt x="4512" y="4858"/>
                  </a:lnTo>
                  <a:lnTo>
                    <a:pt x="4512" y="4969"/>
                  </a:lnTo>
                  <a:lnTo>
                    <a:pt x="4512" y="5079"/>
                  </a:lnTo>
                  <a:lnTo>
                    <a:pt x="4501" y="5185"/>
                  </a:lnTo>
                  <a:lnTo>
                    <a:pt x="4487" y="5290"/>
                  </a:lnTo>
                  <a:lnTo>
                    <a:pt x="4467" y="5396"/>
                  </a:lnTo>
                  <a:lnTo>
                    <a:pt x="4356" y="5551"/>
                  </a:lnTo>
                  <a:lnTo>
                    <a:pt x="4356" y="5551"/>
                  </a:lnTo>
                  <a:lnTo>
                    <a:pt x="4341" y="5576"/>
                  </a:lnTo>
                  <a:lnTo>
                    <a:pt x="4326" y="5607"/>
                  </a:lnTo>
                  <a:lnTo>
                    <a:pt x="4316" y="5637"/>
                  </a:lnTo>
                  <a:lnTo>
                    <a:pt x="4311" y="5667"/>
                  </a:lnTo>
                  <a:lnTo>
                    <a:pt x="4305" y="5702"/>
                  </a:lnTo>
                  <a:lnTo>
                    <a:pt x="4311" y="5732"/>
                  </a:lnTo>
                  <a:lnTo>
                    <a:pt x="4316" y="5763"/>
                  </a:lnTo>
                  <a:lnTo>
                    <a:pt x="4326" y="5793"/>
                  </a:lnTo>
                  <a:lnTo>
                    <a:pt x="4467" y="6160"/>
                  </a:lnTo>
                  <a:lnTo>
                    <a:pt x="4467" y="6160"/>
                  </a:lnTo>
                  <a:lnTo>
                    <a:pt x="4487" y="6235"/>
                  </a:lnTo>
                  <a:lnTo>
                    <a:pt x="4506" y="6305"/>
                  </a:lnTo>
                  <a:lnTo>
                    <a:pt x="4522" y="6375"/>
                  </a:lnTo>
                  <a:lnTo>
                    <a:pt x="4532" y="6445"/>
                  </a:lnTo>
                  <a:lnTo>
                    <a:pt x="4537" y="6511"/>
                  </a:lnTo>
                  <a:lnTo>
                    <a:pt x="4537" y="6576"/>
                  </a:lnTo>
                  <a:lnTo>
                    <a:pt x="4537" y="6641"/>
                  </a:lnTo>
                  <a:lnTo>
                    <a:pt x="4532" y="6702"/>
                  </a:lnTo>
                  <a:lnTo>
                    <a:pt x="4522" y="6762"/>
                  </a:lnTo>
                  <a:lnTo>
                    <a:pt x="4506" y="6822"/>
                  </a:lnTo>
                  <a:lnTo>
                    <a:pt x="4487" y="6883"/>
                  </a:lnTo>
                  <a:lnTo>
                    <a:pt x="4467" y="6938"/>
                  </a:lnTo>
                  <a:lnTo>
                    <a:pt x="4446" y="6993"/>
                  </a:lnTo>
                  <a:lnTo>
                    <a:pt x="4416" y="7049"/>
                  </a:lnTo>
                  <a:lnTo>
                    <a:pt x="4386" y="7099"/>
                  </a:lnTo>
                  <a:lnTo>
                    <a:pt x="4351" y="7153"/>
                  </a:lnTo>
                  <a:lnTo>
                    <a:pt x="4351" y="11805"/>
                  </a:lnTo>
                  <a:lnTo>
                    <a:pt x="4582" y="12378"/>
                  </a:lnTo>
                  <a:lnTo>
                    <a:pt x="4582" y="12378"/>
                  </a:lnTo>
                  <a:lnTo>
                    <a:pt x="4582" y="12498"/>
                  </a:lnTo>
                  <a:lnTo>
                    <a:pt x="4582" y="12619"/>
                  </a:lnTo>
                  <a:lnTo>
                    <a:pt x="4577" y="12735"/>
                  </a:lnTo>
                  <a:lnTo>
                    <a:pt x="4567" y="12845"/>
                  </a:lnTo>
                  <a:lnTo>
                    <a:pt x="4552" y="12956"/>
                  </a:lnTo>
                  <a:lnTo>
                    <a:pt x="4532" y="13061"/>
                  </a:lnTo>
                  <a:lnTo>
                    <a:pt x="4512" y="13162"/>
                  </a:lnTo>
                  <a:lnTo>
                    <a:pt x="4481" y="13262"/>
                  </a:lnTo>
                  <a:lnTo>
                    <a:pt x="4451" y="13358"/>
                  </a:lnTo>
                  <a:lnTo>
                    <a:pt x="4416" y="13453"/>
                  </a:lnTo>
                  <a:lnTo>
                    <a:pt x="4376" y="13543"/>
                  </a:lnTo>
                  <a:lnTo>
                    <a:pt x="4336" y="13629"/>
                  </a:lnTo>
                  <a:lnTo>
                    <a:pt x="4291" y="13709"/>
                  </a:lnTo>
                  <a:lnTo>
                    <a:pt x="4235" y="13790"/>
                  </a:lnTo>
                  <a:lnTo>
                    <a:pt x="4180" y="13870"/>
                  </a:lnTo>
                  <a:lnTo>
                    <a:pt x="4125" y="13940"/>
                  </a:lnTo>
                  <a:lnTo>
                    <a:pt x="4125" y="13940"/>
                  </a:lnTo>
                  <a:lnTo>
                    <a:pt x="4014" y="13986"/>
                  </a:lnTo>
                  <a:lnTo>
                    <a:pt x="3904" y="14015"/>
                  </a:lnTo>
                  <a:lnTo>
                    <a:pt x="3798" y="14036"/>
                  </a:lnTo>
                  <a:lnTo>
                    <a:pt x="3698" y="14046"/>
                  </a:lnTo>
                  <a:lnTo>
                    <a:pt x="3597" y="14041"/>
                  </a:lnTo>
                  <a:lnTo>
                    <a:pt x="3497" y="14026"/>
                  </a:lnTo>
                  <a:lnTo>
                    <a:pt x="3401" y="13996"/>
                  </a:lnTo>
                  <a:lnTo>
                    <a:pt x="3306" y="13956"/>
                  </a:lnTo>
                  <a:lnTo>
                    <a:pt x="3306" y="13956"/>
                  </a:lnTo>
                  <a:lnTo>
                    <a:pt x="3251" y="13935"/>
                  </a:lnTo>
                  <a:lnTo>
                    <a:pt x="3190" y="13920"/>
                  </a:lnTo>
                  <a:lnTo>
                    <a:pt x="3130" y="13910"/>
                  </a:lnTo>
                  <a:lnTo>
                    <a:pt x="3070" y="13910"/>
                  </a:lnTo>
                  <a:lnTo>
                    <a:pt x="3009" y="13915"/>
                  </a:lnTo>
                  <a:lnTo>
                    <a:pt x="2954" y="13931"/>
                  </a:lnTo>
                  <a:lnTo>
                    <a:pt x="2894" y="13951"/>
                  </a:lnTo>
                  <a:lnTo>
                    <a:pt x="2838" y="13981"/>
                  </a:lnTo>
                  <a:lnTo>
                    <a:pt x="2838" y="13981"/>
                  </a:lnTo>
                  <a:lnTo>
                    <a:pt x="2783" y="14011"/>
                  </a:lnTo>
                  <a:lnTo>
                    <a:pt x="2718" y="14041"/>
                  </a:lnTo>
                  <a:lnTo>
                    <a:pt x="2653" y="14066"/>
                  </a:lnTo>
                  <a:lnTo>
                    <a:pt x="2587" y="14086"/>
                  </a:lnTo>
                  <a:lnTo>
                    <a:pt x="2517" y="14101"/>
                  </a:lnTo>
                  <a:lnTo>
                    <a:pt x="2442" y="14116"/>
                  </a:lnTo>
                  <a:lnTo>
                    <a:pt x="2366" y="14127"/>
                  </a:lnTo>
                  <a:lnTo>
                    <a:pt x="2291" y="14131"/>
                  </a:lnTo>
                </a:path>
              </a:pathLst>
            </a:custGeom>
            <a:noFill/>
            <a:ln w="12700">
              <a:solidFill>
                <a:schemeClr val="bg1">
                  <a:alpha val="30000"/>
                </a:schemeClr>
              </a:solidFill>
            </a:ln>
            <a:effectLst/>
          </p:spPr>
          <p:txBody>
            <a:bodyPr wrap="none" anchor="ctr"/>
            <a:lstStyle/>
            <a:p>
              <a:endParaRPr lang="en-US" sz="1709"/>
            </a:p>
          </p:txBody>
        </p:sp>
        <p:sp>
          <p:nvSpPr>
            <p:cNvPr id="9" name="Freeform 8">
              <a:extLst>
                <a:ext uri="{FF2B5EF4-FFF2-40B4-BE49-F238E27FC236}">
                  <a16:creationId xmlns:a16="http://schemas.microsoft.com/office/drawing/2014/main" id="{B6AB1E3A-EE4F-1744-8651-378A4A59ED36}"/>
                </a:ext>
              </a:extLst>
            </p:cNvPr>
            <p:cNvSpPr>
              <a:spLocks noChangeArrowheads="1"/>
            </p:cNvSpPr>
            <p:nvPr/>
          </p:nvSpPr>
          <p:spPr bwMode="auto">
            <a:xfrm>
              <a:off x="4351579" y="1604875"/>
              <a:ext cx="1137289" cy="4054585"/>
            </a:xfrm>
            <a:custGeom>
              <a:avLst/>
              <a:gdLst>
                <a:gd name="T0" fmla="*/ 1753 w 4502"/>
                <a:gd name="T1" fmla="*/ 15970 h 16051"/>
                <a:gd name="T2" fmla="*/ 1291 w 4502"/>
                <a:gd name="T3" fmla="*/ 15734 h 16051"/>
                <a:gd name="T4" fmla="*/ 1009 w 4502"/>
                <a:gd name="T5" fmla="*/ 15754 h 16051"/>
                <a:gd name="T6" fmla="*/ 803 w 4502"/>
                <a:gd name="T7" fmla="*/ 15899 h 16051"/>
                <a:gd name="T8" fmla="*/ 593 w 4502"/>
                <a:gd name="T9" fmla="*/ 15924 h 16051"/>
                <a:gd name="T10" fmla="*/ 406 w 4502"/>
                <a:gd name="T11" fmla="*/ 15819 h 16051"/>
                <a:gd name="T12" fmla="*/ 241 w 4502"/>
                <a:gd name="T13" fmla="*/ 15488 h 16051"/>
                <a:gd name="T14" fmla="*/ 45 w 4502"/>
                <a:gd name="T15" fmla="*/ 14548 h 16051"/>
                <a:gd name="T16" fmla="*/ 45 w 4502"/>
                <a:gd name="T17" fmla="*/ 13714 h 16051"/>
                <a:gd name="T18" fmla="*/ 100 w 4502"/>
                <a:gd name="T19" fmla="*/ 9177 h 16051"/>
                <a:gd name="T20" fmla="*/ 100 w 4502"/>
                <a:gd name="T21" fmla="*/ 8128 h 16051"/>
                <a:gd name="T22" fmla="*/ 306 w 4502"/>
                <a:gd name="T23" fmla="*/ 7254 h 16051"/>
                <a:gd name="T24" fmla="*/ 598 w 4502"/>
                <a:gd name="T25" fmla="*/ 6657 h 16051"/>
                <a:gd name="T26" fmla="*/ 723 w 4502"/>
                <a:gd name="T27" fmla="*/ 5993 h 16051"/>
                <a:gd name="T28" fmla="*/ 577 w 4502"/>
                <a:gd name="T29" fmla="*/ 5335 h 16051"/>
                <a:gd name="T30" fmla="*/ 281 w 4502"/>
                <a:gd name="T31" fmla="*/ 4858 h 16051"/>
                <a:gd name="T32" fmla="*/ 50 w 4502"/>
                <a:gd name="T33" fmla="*/ 4321 h 16051"/>
                <a:gd name="T34" fmla="*/ 14 w 4502"/>
                <a:gd name="T35" fmla="*/ 3617 h 16051"/>
                <a:gd name="T36" fmla="*/ 171 w 4502"/>
                <a:gd name="T37" fmla="*/ 3080 h 16051"/>
                <a:gd name="T38" fmla="*/ 447 w 4502"/>
                <a:gd name="T39" fmla="*/ 2728 h 16051"/>
                <a:gd name="T40" fmla="*/ 808 w 4502"/>
                <a:gd name="T41" fmla="*/ 2562 h 16051"/>
                <a:gd name="T42" fmla="*/ 1045 w 4502"/>
                <a:gd name="T43" fmla="*/ 2476 h 16051"/>
                <a:gd name="T44" fmla="*/ 1271 w 4502"/>
                <a:gd name="T45" fmla="*/ 2190 h 16051"/>
                <a:gd name="T46" fmla="*/ 1351 w 4502"/>
                <a:gd name="T47" fmla="*/ 1442 h 16051"/>
                <a:gd name="T48" fmla="*/ 1275 w 4502"/>
                <a:gd name="T49" fmla="*/ 1351 h 16051"/>
                <a:gd name="T50" fmla="*/ 1185 w 4502"/>
                <a:gd name="T51" fmla="*/ 1205 h 16051"/>
                <a:gd name="T52" fmla="*/ 1542 w 4502"/>
                <a:gd name="T53" fmla="*/ 45 h 16051"/>
                <a:gd name="T54" fmla="*/ 2546 w 4502"/>
                <a:gd name="T55" fmla="*/ 5 h 16051"/>
                <a:gd name="T56" fmla="*/ 3310 w 4502"/>
                <a:gd name="T57" fmla="*/ 120 h 16051"/>
                <a:gd name="T58" fmla="*/ 3280 w 4502"/>
                <a:gd name="T59" fmla="*/ 1286 h 16051"/>
                <a:gd name="T60" fmla="*/ 3175 w 4502"/>
                <a:gd name="T61" fmla="*/ 1381 h 16051"/>
                <a:gd name="T62" fmla="*/ 3155 w 4502"/>
                <a:gd name="T63" fmla="*/ 1999 h 16051"/>
                <a:gd name="T64" fmla="*/ 3351 w 4502"/>
                <a:gd name="T65" fmla="*/ 2391 h 16051"/>
                <a:gd name="T66" fmla="*/ 3572 w 4502"/>
                <a:gd name="T67" fmla="*/ 2542 h 16051"/>
                <a:gd name="T68" fmla="*/ 3878 w 4502"/>
                <a:gd name="T69" fmla="*/ 2622 h 16051"/>
                <a:gd name="T70" fmla="*/ 4199 w 4502"/>
                <a:gd name="T71" fmla="*/ 2879 h 16051"/>
                <a:gd name="T72" fmla="*/ 4435 w 4502"/>
                <a:gd name="T73" fmla="*/ 3331 h 16051"/>
                <a:gd name="T74" fmla="*/ 4496 w 4502"/>
                <a:gd name="T75" fmla="*/ 3994 h 16051"/>
                <a:gd name="T76" fmla="*/ 4355 w 4502"/>
                <a:gd name="T77" fmla="*/ 4607 h 16051"/>
                <a:gd name="T78" fmla="*/ 4109 w 4502"/>
                <a:gd name="T79" fmla="*/ 5008 h 16051"/>
                <a:gd name="T80" fmla="*/ 3812 w 4502"/>
                <a:gd name="T81" fmla="*/ 5662 h 16051"/>
                <a:gd name="T82" fmla="*/ 3807 w 4502"/>
                <a:gd name="T83" fmla="*/ 6325 h 16051"/>
                <a:gd name="T84" fmla="*/ 4019 w 4502"/>
                <a:gd name="T85" fmla="*/ 6883 h 16051"/>
                <a:gd name="T86" fmla="*/ 4320 w 4502"/>
                <a:gd name="T87" fmla="*/ 7666 h 16051"/>
                <a:gd name="T88" fmla="*/ 4425 w 4502"/>
                <a:gd name="T89" fmla="*/ 8630 h 16051"/>
                <a:gd name="T90" fmla="*/ 4416 w 4502"/>
                <a:gd name="T91" fmla="*/ 13588 h 16051"/>
                <a:gd name="T92" fmla="*/ 4480 w 4502"/>
                <a:gd name="T93" fmla="*/ 14086 h 16051"/>
                <a:gd name="T94" fmla="*/ 4375 w 4502"/>
                <a:gd name="T95" fmla="*/ 15040 h 16051"/>
                <a:gd name="T96" fmla="*/ 4159 w 4502"/>
                <a:gd name="T97" fmla="*/ 15728 h 16051"/>
                <a:gd name="T98" fmla="*/ 4008 w 4502"/>
                <a:gd name="T99" fmla="*/ 15884 h 16051"/>
                <a:gd name="T100" fmla="*/ 3803 w 4502"/>
                <a:gd name="T101" fmla="*/ 15929 h 16051"/>
                <a:gd name="T102" fmla="*/ 3591 w 4502"/>
                <a:gd name="T103" fmla="*/ 15839 h 16051"/>
                <a:gd name="T104" fmla="*/ 3351 w 4502"/>
                <a:gd name="T105" fmla="*/ 15709 h 16051"/>
                <a:gd name="T106" fmla="*/ 3074 w 4502"/>
                <a:gd name="T107" fmla="*/ 15824 h 16051"/>
                <a:gd name="T108" fmla="*/ 2370 w 4502"/>
                <a:gd name="T109" fmla="*/ 16045 h 16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2" h="16051">
                  <a:moveTo>
                    <a:pt x="2250" y="16050"/>
                  </a:moveTo>
                  <a:lnTo>
                    <a:pt x="2250" y="16050"/>
                  </a:lnTo>
                  <a:lnTo>
                    <a:pt x="2124" y="16045"/>
                  </a:lnTo>
                  <a:lnTo>
                    <a:pt x="1999" y="16030"/>
                  </a:lnTo>
                  <a:lnTo>
                    <a:pt x="1873" y="16005"/>
                  </a:lnTo>
                  <a:lnTo>
                    <a:pt x="1753" y="15970"/>
                  </a:lnTo>
                  <a:lnTo>
                    <a:pt x="1638" y="15929"/>
                  </a:lnTo>
                  <a:lnTo>
                    <a:pt x="1527" y="15879"/>
                  </a:lnTo>
                  <a:lnTo>
                    <a:pt x="1421" y="15824"/>
                  </a:lnTo>
                  <a:lnTo>
                    <a:pt x="1331" y="15764"/>
                  </a:lnTo>
                  <a:lnTo>
                    <a:pt x="1331" y="15764"/>
                  </a:lnTo>
                  <a:lnTo>
                    <a:pt x="1291" y="15734"/>
                  </a:lnTo>
                  <a:lnTo>
                    <a:pt x="1246" y="15719"/>
                  </a:lnTo>
                  <a:lnTo>
                    <a:pt x="1195" y="15709"/>
                  </a:lnTo>
                  <a:lnTo>
                    <a:pt x="1145" y="15709"/>
                  </a:lnTo>
                  <a:lnTo>
                    <a:pt x="1100" y="15714"/>
                  </a:lnTo>
                  <a:lnTo>
                    <a:pt x="1054" y="15728"/>
                  </a:lnTo>
                  <a:lnTo>
                    <a:pt x="1009" y="15754"/>
                  </a:lnTo>
                  <a:lnTo>
                    <a:pt x="969" y="15784"/>
                  </a:lnTo>
                  <a:lnTo>
                    <a:pt x="969" y="15784"/>
                  </a:lnTo>
                  <a:lnTo>
                    <a:pt x="909" y="15839"/>
                  </a:lnTo>
                  <a:lnTo>
                    <a:pt x="839" y="15884"/>
                  </a:lnTo>
                  <a:lnTo>
                    <a:pt x="839" y="15884"/>
                  </a:lnTo>
                  <a:lnTo>
                    <a:pt x="803" y="15899"/>
                  </a:lnTo>
                  <a:lnTo>
                    <a:pt x="768" y="15915"/>
                  </a:lnTo>
                  <a:lnTo>
                    <a:pt x="733" y="15924"/>
                  </a:lnTo>
                  <a:lnTo>
                    <a:pt x="698" y="15929"/>
                  </a:lnTo>
                  <a:lnTo>
                    <a:pt x="663" y="15929"/>
                  </a:lnTo>
                  <a:lnTo>
                    <a:pt x="627" y="15929"/>
                  </a:lnTo>
                  <a:lnTo>
                    <a:pt x="593" y="15924"/>
                  </a:lnTo>
                  <a:lnTo>
                    <a:pt x="557" y="15915"/>
                  </a:lnTo>
                  <a:lnTo>
                    <a:pt x="522" y="15904"/>
                  </a:lnTo>
                  <a:lnTo>
                    <a:pt x="492" y="15884"/>
                  </a:lnTo>
                  <a:lnTo>
                    <a:pt x="462" y="15869"/>
                  </a:lnTo>
                  <a:lnTo>
                    <a:pt x="431" y="15844"/>
                  </a:lnTo>
                  <a:lnTo>
                    <a:pt x="406" y="15819"/>
                  </a:lnTo>
                  <a:lnTo>
                    <a:pt x="381" y="15794"/>
                  </a:lnTo>
                  <a:lnTo>
                    <a:pt x="356" y="15764"/>
                  </a:lnTo>
                  <a:lnTo>
                    <a:pt x="341" y="15728"/>
                  </a:lnTo>
                  <a:lnTo>
                    <a:pt x="341" y="15728"/>
                  </a:lnTo>
                  <a:lnTo>
                    <a:pt x="286" y="15618"/>
                  </a:lnTo>
                  <a:lnTo>
                    <a:pt x="241" y="15488"/>
                  </a:lnTo>
                  <a:lnTo>
                    <a:pt x="196" y="15352"/>
                  </a:lnTo>
                  <a:lnTo>
                    <a:pt x="160" y="15201"/>
                  </a:lnTo>
                  <a:lnTo>
                    <a:pt x="125" y="15040"/>
                  </a:lnTo>
                  <a:lnTo>
                    <a:pt x="90" y="14880"/>
                  </a:lnTo>
                  <a:lnTo>
                    <a:pt x="65" y="14714"/>
                  </a:lnTo>
                  <a:lnTo>
                    <a:pt x="45" y="14548"/>
                  </a:lnTo>
                  <a:lnTo>
                    <a:pt x="30" y="14387"/>
                  </a:lnTo>
                  <a:lnTo>
                    <a:pt x="20" y="14232"/>
                  </a:lnTo>
                  <a:lnTo>
                    <a:pt x="20" y="14086"/>
                  </a:lnTo>
                  <a:lnTo>
                    <a:pt x="20" y="13945"/>
                  </a:lnTo>
                  <a:lnTo>
                    <a:pt x="30" y="13825"/>
                  </a:lnTo>
                  <a:lnTo>
                    <a:pt x="45" y="13714"/>
                  </a:lnTo>
                  <a:lnTo>
                    <a:pt x="60" y="13669"/>
                  </a:lnTo>
                  <a:lnTo>
                    <a:pt x="70" y="13624"/>
                  </a:lnTo>
                  <a:lnTo>
                    <a:pt x="85" y="13588"/>
                  </a:lnTo>
                  <a:lnTo>
                    <a:pt x="100" y="13558"/>
                  </a:lnTo>
                  <a:lnTo>
                    <a:pt x="100" y="9177"/>
                  </a:lnTo>
                  <a:lnTo>
                    <a:pt x="100" y="9177"/>
                  </a:lnTo>
                  <a:lnTo>
                    <a:pt x="85" y="8992"/>
                  </a:lnTo>
                  <a:lnTo>
                    <a:pt x="80" y="8806"/>
                  </a:lnTo>
                  <a:lnTo>
                    <a:pt x="75" y="8630"/>
                  </a:lnTo>
                  <a:lnTo>
                    <a:pt x="75" y="8459"/>
                  </a:lnTo>
                  <a:lnTo>
                    <a:pt x="85" y="8289"/>
                  </a:lnTo>
                  <a:lnTo>
                    <a:pt x="100" y="8128"/>
                  </a:lnTo>
                  <a:lnTo>
                    <a:pt x="120" y="7968"/>
                  </a:lnTo>
                  <a:lnTo>
                    <a:pt x="145" y="7817"/>
                  </a:lnTo>
                  <a:lnTo>
                    <a:pt x="176" y="7666"/>
                  </a:lnTo>
                  <a:lnTo>
                    <a:pt x="215" y="7526"/>
                  </a:lnTo>
                  <a:lnTo>
                    <a:pt x="256" y="7385"/>
                  </a:lnTo>
                  <a:lnTo>
                    <a:pt x="306" y="7254"/>
                  </a:lnTo>
                  <a:lnTo>
                    <a:pt x="356" y="7124"/>
                  </a:lnTo>
                  <a:lnTo>
                    <a:pt x="417" y="6998"/>
                  </a:lnTo>
                  <a:lnTo>
                    <a:pt x="482" y="6883"/>
                  </a:lnTo>
                  <a:lnTo>
                    <a:pt x="552" y="6767"/>
                  </a:lnTo>
                  <a:lnTo>
                    <a:pt x="552" y="6767"/>
                  </a:lnTo>
                  <a:lnTo>
                    <a:pt x="598" y="6657"/>
                  </a:lnTo>
                  <a:lnTo>
                    <a:pt x="637" y="6546"/>
                  </a:lnTo>
                  <a:lnTo>
                    <a:pt x="668" y="6436"/>
                  </a:lnTo>
                  <a:lnTo>
                    <a:pt x="693" y="6325"/>
                  </a:lnTo>
                  <a:lnTo>
                    <a:pt x="713" y="6210"/>
                  </a:lnTo>
                  <a:lnTo>
                    <a:pt x="723" y="6099"/>
                  </a:lnTo>
                  <a:lnTo>
                    <a:pt x="723" y="5993"/>
                  </a:lnTo>
                  <a:lnTo>
                    <a:pt x="718" y="5883"/>
                  </a:lnTo>
                  <a:lnTo>
                    <a:pt x="708" y="5772"/>
                  </a:lnTo>
                  <a:lnTo>
                    <a:pt x="688" y="5662"/>
                  </a:lnTo>
                  <a:lnTo>
                    <a:pt x="657" y="5551"/>
                  </a:lnTo>
                  <a:lnTo>
                    <a:pt x="623" y="5441"/>
                  </a:lnTo>
                  <a:lnTo>
                    <a:pt x="577" y="5335"/>
                  </a:lnTo>
                  <a:lnTo>
                    <a:pt x="522" y="5225"/>
                  </a:lnTo>
                  <a:lnTo>
                    <a:pt x="462" y="5119"/>
                  </a:lnTo>
                  <a:lnTo>
                    <a:pt x="386" y="5008"/>
                  </a:lnTo>
                  <a:lnTo>
                    <a:pt x="386" y="5008"/>
                  </a:lnTo>
                  <a:lnTo>
                    <a:pt x="331" y="4933"/>
                  </a:lnTo>
                  <a:lnTo>
                    <a:pt x="281" y="4858"/>
                  </a:lnTo>
                  <a:lnTo>
                    <a:pt x="231" y="4777"/>
                  </a:lnTo>
                  <a:lnTo>
                    <a:pt x="185" y="4692"/>
                  </a:lnTo>
                  <a:lnTo>
                    <a:pt x="145" y="4607"/>
                  </a:lnTo>
                  <a:lnTo>
                    <a:pt x="110" y="4516"/>
                  </a:lnTo>
                  <a:lnTo>
                    <a:pt x="75" y="4421"/>
                  </a:lnTo>
                  <a:lnTo>
                    <a:pt x="50" y="4321"/>
                  </a:lnTo>
                  <a:lnTo>
                    <a:pt x="30" y="4220"/>
                  </a:lnTo>
                  <a:lnTo>
                    <a:pt x="9" y="4109"/>
                  </a:lnTo>
                  <a:lnTo>
                    <a:pt x="5" y="3994"/>
                  </a:lnTo>
                  <a:lnTo>
                    <a:pt x="0" y="3873"/>
                  </a:lnTo>
                  <a:lnTo>
                    <a:pt x="5" y="3748"/>
                  </a:lnTo>
                  <a:lnTo>
                    <a:pt x="14" y="3617"/>
                  </a:lnTo>
                  <a:lnTo>
                    <a:pt x="35" y="3476"/>
                  </a:lnTo>
                  <a:lnTo>
                    <a:pt x="60" y="3331"/>
                  </a:lnTo>
                  <a:lnTo>
                    <a:pt x="60" y="3331"/>
                  </a:lnTo>
                  <a:lnTo>
                    <a:pt x="95" y="3240"/>
                  </a:lnTo>
                  <a:lnTo>
                    <a:pt x="130" y="3160"/>
                  </a:lnTo>
                  <a:lnTo>
                    <a:pt x="171" y="3080"/>
                  </a:lnTo>
                  <a:lnTo>
                    <a:pt x="210" y="3009"/>
                  </a:lnTo>
                  <a:lnTo>
                    <a:pt x="251" y="2939"/>
                  </a:lnTo>
                  <a:lnTo>
                    <a:pt x="296" y="2879"/>
                  </a:lnTo>
                  <a:lnTo>
                    <a:pt x="346" y="2823"/>
                  </a:lnTo>
                  <a:lnTo>
                    <a:pt x="397" y="2773"/>
                  </a:lnTo>
                  <a:lnTo>
                    <a:pt x="447" y="2728"/>
                  </a:lnTo>
                  <a:lnTo>
                    <a:pt x="502" y="2688"/>
                  </a:lnTo>
                  <a:lnTo>
                    <a:pt x="557" y="2652"/>
                  </a:lnTo>
                  <a:lnTo>
                    <a:pt x="618" y="2622"/>
                  </a:lnTo>
                  <a:lnTo>
                    <a:pt x="683" y="2597"/>
                  </a:lnTo>
                  <a:lnTo>
                    <a:pt x="743" y="2577"/>
                  </a:lnTo>
                  <a:lnTo>
                    <a:pt x="808" y="2562"/>
                  </a:lnTo>
                  <a:lnTo>
                    <a:pt x="879" y="2552"/>
                  </a:lnTo>
                  <a:lnTo>
                    <a:pt x="879" y="2552"/>
                  </a:lnTo>
                  <a:lnTo>
                    <a:pt x="924" y="2542"/>
                  </a:lnTo>
                  <a:lnTo>
                    <a:pt x="969" y="2522"/>
                  </a:lnTo>
                  <a:lnTo>
                    <a:pt x="1009" y="2501"/>
                  </a:lnTo>
                  <a:lnTo>
                    <a:pt x="1045" y="2476"/>
                  </a:lnTo>
                  <a:lnTo>
                    <a:pt x="1079" y="2451"/>
                  </a:lnTo>
                  <a:lnTo>
                    <a:pt x="1115" y="2421"/>
                  </a:lnTo>
                  <a:lnTo>
                    <a:pt x="1145" y="2391"/>
                  </a:lnTo>
                  <a:lnTo>
                    <a:pt x="1175" y="2356"/>
                  </a:lnTo>
                  <a:lnTo>
                    <a:pt x="1225" y="2275"/>
                  </a:lnTo>
                  <a:lnTo>
                    <a:pt x="1271" y="2190"/>
                  </a:lnTo>
                  <a:lnTo>
                    <a:pt x="1311" y="2100"/>
                  </a:lnTo>
                  <a:lnTo>
                    <a:pt x="1346" y="1999"/>
                  </a:lnTo>
                  <a:lnTo>
                    <a:pt x="1346" y="1999"/>
                  </a:lnTo>
                  <a:lnTo>
                    <a:pt x="1351" y="1964"/>
                  </a:lnTo>
                  <a:lnTo>
                    <a:pt x="1351" y="1442"/>
                  </a:lnTo>
                  <a:lnTo>
                    <a:pt x="1351" y="1442"/>
                  </a:lnTo>
                  <a:lnTo>
                    <a:pt x="1346" y="1417"/>
                  </a:lnTo>
                  <a:lnTo>
                    <a:pt x="1336" y="1397"/>
                  </a:lnTo>
                  <a:lnTo>
                    <a:pt x="1321" y="1381"/>
                  </a:lnTo>
                  <a:lnTo>
                    <a:pt x="1306" y="1366"/>
                  </a:lnTo>
                  <a:lnTo>
                    <a:pt x="1306" y="1366"/>
                  </a:lnTo>
                  <a:lnTo>
                    <a:pt x="1275" y="1351"/>
                  </a:lnTo>
                  <a:lnTo>
                    <a:pt x="1255" y="1331"/>
                  </a:lnTo>
                  <a:lnTo>
                    <a:pt x="1235" y="1311"/>
                  </a:lnTo>
                  <a:lnTo>
                    <a:pt x="1216" y="1286"/>
                  </a:lnTo>
                  <a:lnTo>
                    <a:pt x="1205" y="1261"/>
                  </a:lnTo>
                  <a:lnTo>
                    <a:pt x="1195" y="1235"/>
                  </a:lnTo>
                  <a:lnTo>
                    <a:pt x="1185" y="1205"/>
                  </a:lnTo>
                  <a:lnTo>
                    <a:pt x="1185" y="1175"/>
                  </a:lnTo>
                  <a:lnTo>
                    <a:pt x="1185" y="120"/>
                  </a:lnTo>
                  <a:lnTo>
                    <a:pt x="1185" y="120"/>
                  </a:lnTo>
                  <a:lnTo>
                    <a:pt x="1296" y="90"/>
                  </a:lnTo>
                  <a:lnTo>
                    <a:pt x="1416" y="65"/>
                  </a:lnTo>
                  <a:lnTo>
                    <a:pt x="1542" y="45"/>
                  </a:lnTo>
                  <a:lnTo>
                    <a:pt x="1672" y="25"/>
                  </a:lnTo>
                  <a:lnTo>
                    <a:pt x="1813" y="15"/>
                  </a:lnTo>
                  <a:lnTo>
                    <a:pt x="1954" y="5"/>
                  </a:lnTo>
                  <a:lnTo>
                    <a:pt x="2250" y="0"/>
                  </a:lnTo>
                  <a:lnTo>
                    <a:pt x="2250" y="0"/>
                  </a:lnTo>
                  <a:lnTo>
                    <a:pt x="2546" y="5"/>
                  </a:lnTo>
                  <a:lnTo>
                    <a:pt x="2687" y="15"/>
                  </a:lnTo>
                  <a:lnTo>
                    <a:pt x="2823" y="25"/>
                  </a:lnTo>
                  <a:lnTo>
                    <a:pt x="2954" y="45"/>
                  </a:lnTo>
                  <a:lnTo>
                    <a:pt x="3084" y="65"/>
                  </a:lnTo>
                  <a:lnTo>
                    <a:pt x="3200" y="90"/>
                  </a:lnTo>
                  <a:lnTo>
                    <a:pt x="3310" y="120"/>
                  </a:lnTo>
                  <a:lnTo>
                    <a:pt x="3310" y="1175"/>
                  </a:lnTo>
                  <a:lnTo>
                    <a:pt x="3310" y="1175"/>
                  </a:lnTo>
                  <a:lnTo>
                    <a:pt x="3310" y="1205"/>
                  </a:lnTo>
                  <a:lnTo>
                    <a:pt x="3305" y="1235"/>
                  </a:lnTo>
                  <a:lnTo>
                    <a:pt x="3295" y="1261"/>
                  </a:lnTo>
                  <a:lnTo>
                    <a:pt x="3280" y="1286"/>
                  </a:lnTo>
                  <a:lnTo>
                    <a:pt x="3265" y="1311"/>
                  </a:lnTo>
                  <a:lnTo>
                    <a:pt x="3245" y="1331"/>
                  </a:lnTo>
                  <a:lnTo>
                    <a:pt x="3220" y="1351"/>
                  </a:lnTo>
                  <a:lnTo>
                    <a:pt x="3195" y="1366"/>
                  </a:lnTo>
                  <a:lnTo>
                    <a:pt x="3195" y="1366"/>
                  </a:lnTo>
                  <a:lnTo>
                    <a:pt x="3175" y="1381"/>
                  </a:lnTo>
                  <a:lnTo>
                    <a:pt x="3159" y="1397"/>
                  </a:lnTo>
                  <a:lnTo>
                    <a:pt x="3155" y="1417"/>
                  </a:lnTo>
                  <a:lnTo>
                    <a:pt x="3150" y="1442"/>
                  </a:lnTo>
                  <a:lnTo>
                    <a:pt x="3150" y="1964"/>
                  </a:lnTo>
                  <a:lnTo>
                    <a:pt x="3150" y="1964"/>
                  </a:lnTo>
                  <a:lnTo>
                    <a:pt x="3155" y="1999"/>
                  </a:lnTo>
                  <a:lnTo>
                    <a:pt x="3155" y="1999"/>
                  </a:lnTo>
                  <a:lnTo>
                    <a:pt x="3189" y="2100"/>
                  </a:lnTo>
                  <a:lnTo>
                    <a:pt x="3225" y="2190"/>
                  </a:lnTo>
                  <a:lnTo>
                    <a:pt x="3270" y="2275"/>
                  </a:lnTo>
                  <a:lnTo>
                    <a:pt x="3326" y="2356"/>
                  </a:lnTo>
                  <a:lnTo>
                    <a:pt x="3351" y="2391"/>
                  </a:lnTo>
                  <a:lnTo>
                    <a:pt x="3381" y="2421"/>
                  </a:lnTo>
                  <a:lnTo>
                    <a:pt x="3415" y="2451"/>
                  </a:lnTo>
                  <a:lnTo>
                    <a:pt x="3451" y="2476"/>
                  </a:lnTo>
                  <a:lnTo>
                    <a:pt x="3491" y="2501"/>
                  </a:lnTo>
                  <a:lnTo>
                    <a:pt x="3531" y="2522"/>
                  </a:lnTo>
                  <a:lnTo>
                    <a:pt x="3572" y="2542"/>
                  </a:lnTo>
                  <a:lnTo>
                    <a:pt x="3622" y="2552"/>
                  </a:lnTo>
                  <a:lnTo>
                    <a:pt x="3622" y="2552"/>
                  </a:lnTo>
                  <a:lnTo>
                    <a:pt x="3687" y="2562"/>
                  </a:lnTo>
                  <a:lnTo>
                    <a:pt x="3752" y="2577"/>
                  </a:lnTo>
                  <a:lnTo>
                    <a:pt x="3818" y="2597"/>
                  </a:lnTo>
                  <a:lnTo>
                    <a:pt x="3878" y="2622"/>
                  </a:lnTo>
                  <a:lnTo>
                    <a:pt x="3938" y="2652"/>
                  </a:lnTo>
                  <a:lnTo>
                    <a:pt x="3994" y="2688"/>
                  </a:lnTo>
                  <a:lnTo>
                    <a:pt x="4049" y="2728"/>
                  </a:lnTo>
                  <a:lnTo>
                    <a:pt x="4104" y="2773"/>
                  </a:lnTo>
                  <a:lnTo>
                    <a:pt x="4154" y="2823"/>
                  </a:lnTo>
                  <a:lnTo>
                    <a:pt x="4199" y="2879"/>
                  </a:lnTo>
                  <a:lnTo>
                    <a:pt x="4245" y="2939"/>
                  </a:lnTo>
                  <a:lnTo>
                    <a:pt x="4290" y="3009"/>
                  </a:lnTo>
                  <a:lnTo>
                    <a:pt x="4330" y="3080"/>
                  </a:lnTo>
                  <a:lnTo>
                    <a:pt x="4370" y="3160"/>
                  </a:lnTo>
                  <a:lnTo>
                    <a:pt x="4405" y="3240"/>
                  </a:lnTo>
                  <a:lnTo>
                    <a:pt x="4435" y="3331"/>
                  </a:lnTo>
                  <a:lnTo>
                    <a:pt x="4435" y="3331"/>
                  </a:lnTo>
                  <a:lnTo>
                    <a:pt x="4466" y="3476"/>
                  </a:lnTo>
                  <a:lnTo>
                    <a:pt x="4486" y="3617"/>
                  </a:lnTo>
                  <a:lnTo>
                    <a:pt x="4496" y="3748"/>
                  </a:lnTo>
                  <a:lnTo>
                    <a:pt x="4501" y="3873"/>
                  </a:lnTo>
                  <a:lnTo>
                    <a:pt x="4496" y="3994"/>
                  </a:lnTo>
                  <a:lnTo>
                    <a:pt x="4486" y="4109"/>
                  </a:lnTo>
                  <a:lnTo>
                    <a:pt x="4471" y="4220"/>
                  </a:lnTo>
                  <a:lnTo>
                    <a:pt x="4451" y="4321"/>
                  </a:lnTo>
                  <a:lnTo>
                    <a:pt x="4421" y="4421"/>
                  </a:lnTo>
                  <a:lnTo>
                    <a:pt x="4390" y="4516"/>
                  </a:lnTo>
                  <a:lnTo>
                    <a:pt x="4355" y="4607"/>
                  </a:lnTo>
                  <a:lnTo>
                    <a:pt x="4310" y="4692"/>
                  </a:lnTo>
                  <a:lnTo>
                    <a:pt x="4265" y="4777"/>
                  </a:lnTo>
                  <a:lnTo>
                    <a:pt x="4220" y="4858"/>
                  </a:lnTo>
                  <a:lnTo>
                    <a:pt x="4164" y="4933"/>
                  </a:lnTo>
                  <a:lnTo>
                    <a:pt x="4109" y="5008"/>
                  </a:lnTo>
                  <a:lnTo>
                    <a:pt x="4109" y="5008"/>
                  </a:lnTo>
                  <a:lnTo>
                    <a:pt x="4039" y="5119"/>
                  </a:lnTo>
                  <a:lnTo>
                    <a:pt x="3974" y="5225"/>
                  </a:lnTo>
                  <a:lnTo>
                    <a:pt x="3923" y="5335"/>
                  </a:lnTo>
                  <a:lnTo>
                    <a:pt x="3878" y="5441"/>
                  </a:lnTo>
                  <a:lnTo>
                    <a:pt x="3837" y="5551"/>
                  </a:lnTo>
                  <a:lnTo>
                    <a:pt x="3812" y="5662"/>
                  </a:lnTo>
                  <a:lnTo>
                    <a:pt x="3792" y="5772"/>
                  </a:lnTo>
                  <a:lnTo>
                    <a:pt x="3777" y="5883"/>
                  </a:lnTo>
                  <a:lnTo>
                    <a:pt x="3773" y="5993"/>
                  </a:lnTo>
                  <a:lnTo>
                    <a:pt x="3777" y="6099"/>
                  </a:lnTo>
                  <a:lnTo>
                    <a:pt x="3787" y="6210"/>
                  </a:lnTo>
                  <a:lnTo>
                    <a:pt x="3807" y="6325"/>
                  </a:lnTo>
                  <a:lnTo>
                    <a:pt x="3833" y="6436"/>
                  </a:lnTo>
                  <a:lnTo>
                    <a:pt x="3863" y="6546"/>
                  </a:lnTo>
                  <a:lnTo>
                    <a:pt x="3903" y="6657"/>
                  </a:lnTo>
                  <a:lnTo>
                    <a:pt x="3948" y="6767"/>
                  </a:lnTo>
                  <a:lnTo>
                    <a:pt x="3948" y="6767"/>
                  </a:lnTo>
                  <a:lnTo>
                    <a:pt x="4019" y="6883"/>
                  </a:lnTo>
                  <a:lnTo>
                    <a:pt x="4079" y="6998"/>
                  </a:lnTo>
                  <a:lnTo>
                    <a:pt x="4139" y="7124"/>
                  </a:lnTo>
                  <a:lnTo>
                    <a:pt x="4195" y="7254"/>
                  </a:lnTo>
                  <a:lnTo>
                    <a:pt x="4240" y="7385"/>
                  </a:lnTo>
                  <a:lnTo>
                    <a:pt x="4285" y="7526"/>
                  </a:lnTo>
                  <a:lnTo>
                    <a:pt x="4320" y="7666"/>
                  </a:lnTo>
                  <a:lnTo>
                    <a:pt x="4350" y="7817"/>
                  </a:lnTo>
                  <a:lnTo>
                    <a:pt x="4380" y="7968"/>
                  </a:lnTo>
                  <a:lnTo>
                    <a:pt x="4400" y="8128"/>
                  </a:lnTo>
                  <a:lnTo>
                    <a:pt x="4410" y="8289"/>
                  </a:lnTo>
                  <a:lnTo>
                    <a:pt x="4421" y="8459"/>
                  </a:lnTo>
                  <a:lnTo>
                    <a:pt x="4425" y="8630"/>
                  </a:lnTo>
                  <a:lnTo>
                    <a:pt x="4421" y="8806"/>
                  </a:lnTo>
                  <a:lnTo>
                    <a:pt x="4410" y="8992"/>
                  </a:lnTo>
                  <a:lnTo>
                    <a:pt x="4396" y="9177"/>
                  </a:lnTo>
                  <a:lnTo>
                    <a:pt x="4396" y="13558"/>
                  </a:lnTo>
                  <a:lnTo>
                    <a:pt x="4396" y="13558"/>
                  </a:lnTo>
                  <a:lnTo>
                    <a:pt x="4416" y="13588"/>
                  </a:lnTo>
                  <a:lnTo>
                    <a:pt x="4425" y="13624"/>
                  </a:lnTo>
                  <a:lnTo>
                    <a:pt x="4441" y="13669"/>
                  </a:lnTo>
                  <a:lnTo>
                    <a:pt x="4451" y="13714"/>
                  </a:lnTo>
                  <a:lnTo>
                    <a:pt x="4466" y="13825"/>
                  </a:lnTo>
                  <a:lnTo>
                    <a:pt x="4476" y="13945"/>
                  </a:lnTo>
                  <a:lnTo>
                    <a:pt x="4480" y="14086"/>
                  </a:lnTo>
                  <a:lnTo>
                    <a:pt x="4476" y="14232"/>
                  </a:lnTo>
                  <a:lnTo>
                    <a:pt x="4466" y="14387"/>
                  </a:lnTo>
                  <a:lnTo>
                    <a:pt x="4451" y="14548"/>
                  </a:lnTo>
                  <a:lnTo>
                    <a:pt x="4430" y="14714"/>
                  </a:lnTo>
                  <a:lnTo>
                    <a:pt x="4405" y="14880"/>
                  </a:lnTo>
                  <a:lnTo>
                    <a:pt x="4375" y="15040"/>
                  </a:lnTo>
                  <a:lnTo>
                    <a:pt x="4340" y="15201"/>
                  </a:lnTo>
                  <a:lnTo>
                    <a:pt x="4300" y="15352"/>
                  </a:lnTo>
                  <a:lnTo>
                    <a:pt x="4255" y="15488"/>
                  </a:lnTo>
                  <a:lnTo>
                    <a:pt x="4209" y="15618"/>
                  </a:lnTo>
                  <a:lnTo>
                    <a:pt x="4159" y="15728"/>
                  </a:lnTo>
                  <a:lnTo>
                    <a:pt x="4159" y="15728"/>
                  </a:lnTo>
                  <a:lnTo>
                    <a:pt x="4139" y="15764"/>
                  </a:lnTo>
                  <a:lnTo>
                    <a:pt x="4119" y="15794"/>
                  </a:lnTo>
                  <a:lnTo>
                    <a:pt x="4094" y="15819"/>
                  </a:lnTo>
                  <a:lnTo>
                    <a:pt x="4069" y="15844"/>
                  </a:lnTo>
                  <a:lnTo>
                    <a:pt x="4039" y="15869"/>
                  </a:lnTo>
                  <a:lnTo>
                    <a:pt x="4008" y="15884"/>
                  </a:lnTo>
                  <a:lnTo>
                    <a:pt x="3974" y="15904"/>
                  </a:lnTo>
                  <a:lnTo>
                    <a:pt x="3943" y="15915"/>
                  </a:lnTo>
                  <a:lnTo>
                    <a:pt x="3908" y="15924"/>
                  </a:lnTo>
                  <a:lnTo>
                    <a:pt x="3873" y="15929"/>
                  </a:lnTo>
                  <a:lnTo>
                    <a:pt x="3837" y="15929"/>
                  </a:lnTo>
                  <a:lnTo>
                    <a:pt x="3803" y="15929"/>
                  </a:lnTo>
                  <a:lnTo>
                    <a:pt x="3762" y="15924"/>
                  </a:lnTo>
                  <a:lnTo>
                    <a:pt x="3727" y="15915"/>
                  </a:lnTo>
                  <a:lnTo>
                    <a:pt x="3692" y="15899"/>
                  </a:lnTo>
                  <a:lnTo>
                    <a:pt x="3657" y="15884"/>
                  </a:lnTo>
                  <a:lnTo>
                    <a:pt x="3657" y="15884"/>
                  </a:lnTo>
                  <a:lnTo>
                    <a:pt x="3591" y="15839"/>
                  </a:lnTo>
                  <a:lnTo>
                    <a:pt x="3526" y="15784"/>
                  </a:lnTo>
                  <a:lnTo>
                    <a:pt x="3526" y="15784"/>
                  </a:lnTo>
                  <a:lnTo>
                    <a:pt x="3486" y="15754"/>
                  </a:lnTo>
                  <a:lnTo>
                    <a:pt x="3446" y="15728"/>
                  </a:lnTo>
                  <a:lnTo>
                    <a:pt x="3401" y="15714"/>
                  </a:lnTo>
                  <a:lnTo>
                    <a:pt x="3351" y="15709"/>
                  </a:lnTo>
                  <a:lnTo>
                    <a:pt x="3300" y="15709"/>
                  </a:lnTo>
                  <a:lnTo>
                    <a:pt x="3255" y="15719"/>
                  </a:lnTo>
                  <a:lnTo>
                    <a:pt x="3210" y="15734"/>
                  </a:lnTo>
                  <a:lnTo>
                    <a:pt x="3164" y="15764"/>
                  </a:lnTo>
                  <a:lnTo>
                    <a:pt x="3164" y="15764"/>
                  </a:lnTo>
                  <a:lnTo>
                    <a:pt x="3074" y="15824"/>
                  </a:lnTo>
                  <a:lnTo>
                    <a:pt x="2974" y="15879"/>
                  </a:lnTo>
                  <a:lnTo>
                    <a:pt x="2863" y="15929"/>
                  </a:lnTo>
                  <a:lnTo>
                    <a:pt x="2742" y="15970"/>
                  </a:lnTo>
                  <a:lnTo>
                    <a:pt x="2622" y="16005"/>
                  </a:lnTo>
                  <a:lnTo>
                    <a:pt x="2496" y="16030"/>
                  </a:lnTo>
                  <a:lnTo>
                    <a:pt x="2370" y="16045"/>
                  </a:lnTo>
                  <a:lnTo>
                    <a:pt x="2250" y="16050"/>
                  </a:lnTo>
                </a:path>
              </a:pathLst>
            </a:custGeom>
            <a:noFill/>
            <a:ln w="12700">
              <a:solidFill>
                <a:schemeClr val="bg1">
                  <a:alpha val="30000"/>
                </a:schemeClr>
              </a:solidFill>
            </a:ln>
            <a:effectLst/>
          </p:spPr>
          <p:txBody>
            <a:bodyPr wrap="none" anchor="ctr"/>
            <a:lstStyle/>
            <a:p>
              <a:endParaRPr lang="en-US" sz="1709"/>
            </a:p>
          </p:txBody>
        </p:sp>
        <p:sp>
          <p:nvSpPr>
            <p:cNvPr id="10" name="Freeform 9">
              <a:extLst>
                <a:ext uri="{FF2B5EF4-FFF2-40B4-BE49-F238E27FC236}">
                  <a16:creationId xmlns:a16="http://schemas.microsoft.com/office/drawing/2014/main" id="{ADAEB983-5641-0045-9A7E-6ED2E5D0E284}"/>
                </a:ext>
              </a:extLst>
            </p:cNvPr>
            <p:cNvSpPr>
              <a:spLocks noChangeArrowheads="1"/>
            </p:cNvSpPr>
            <p:nvPr/>
          </p:nvSpPr>
          <p:spPr bwMode="auto">
            <a:xfrm>
              <a:off x="8056401" y="1897832"/>
              <a:ext cx="1091620" cy="3609026"/>
            </a:xfrm>
            <a:custGeom>
              <a:avLst/>
              <a:gdLst>
                <a:gd name="T0" fmla="*/ 728 w 4321"/>
                <a:gd name="T1" fmla="*/ 14262 h 14288"/>
                <a:gd name="T2" fmla="*/ 392 w 4321"/>
                <a:gd name="T3" fmla="*/ 14152 h 14288"/>
                <a:gd name="T4" fmla="*/ 176 w 4321"/>
                <a:gd name="T5" fmla="*/ 14001 h 14288"/>
                <a:gd name="T6" fmla="*/ 25 w 4321"/>
                <a:gd name="T7" fmla="*/ 13770 h 14288"/>
                <a:gd name="T8" fmla="*/ 0 w 4321"/>
                <a:gd name="T9" fmla="*/ 6054 h 14288"/>
                <a:gd name="T10" fmla="*/ 55 w 4321"/>
                <a:gd name="T11" fmla="*/ 5883 h 14288"/>
                <a:gd name="T12" fmla="*/ 140 w 4321"/>
                <a:gd name="T13" fmla="*/ 5788 h 14288"/>
                <a:gd name="T14" fmla="*/ 266 w 4321"/>
                <a:gd name="T15" fmla="*/ 5627 h 14288"/>
                <a:gd name="T16" fmla="*/ 311 w 4321"/>
                <a:gd name="T17" fmla="*/ 5421 h 14288"/>
                <a:gd name="T18" fmla="*/ 306 w 4321"/>
                <a:gd name="T19" fmla="*/ 5301 h 14288"/>
                <a:gd name="T20" fmla="*/ 251 w 4321"/>
                <a:gd name="T21" fmla="*/ 5180 h 14288"/>
                <a:gd name="T22" fmla="*/ 171 w 4321"/>
                <a:gd name="T23" fmla="*/ 5100 h 14288"/>
                <a:gd name="T24" fmla="*/ 75 w 4321"/>
                <a:gd name="T25" fmla="*/ 4969 h 14288"/>
                <a:gd name="T26" fmla="*/ 5 w 4321"/>
                <a:gd name="T27" fmla="*/ 4687 h 14288"/>
                <a:gd name="T28" fmla="*/ 95 w 4321"/>
                <a:gd name="T29" fmla="*/ 3588 h 14288"/>
                <a:gd name="T30" fmla="*/ 281 w 4321"/>
                <a:gd name="T31" fmla="*/ 3060 h 14288"/>
                <a:gd name="T32" fmla="*/ 548 w 4321"/>
                <a:gd name="T33" fmla="*/ 2603 h 14288"/>
                <a:gd name="T34" fmla="*/ 899 w 4321"/>
                <a:gd name="T35" fmla="*/ 2206 h 14288"/>
                <a:gd name="T36" fmla="*/ 1115 w 4321"/>
                <a:gd name="T37" fmla="*/ 2015 h 14288"/>
                <a:gd name="T38" fmla="*/ 1130 w 4321"/>
                <a:gd name="T39" fmla="*/ 1598 h 14288"/>
                <a:gd name="T40" fmla="*/ 1095 w 4321"/>
                <a:gd name="T41" fmla="*/ 1537 h 14288"/>
                <a:gd name="T42" fmla="*/ 1030 w 4321"/>
                <a:gd name="T43" fmla="*/ 1528 h 14288"/>
                <a:gd name="T44" fmla="*/ 970 w 4321"/>
                <a:gd name="T45" fmla="*/ 1482 h 14288"/>
                <a:gd name="T46" fmla="*/ 949 w 4321"/>
                <a:gd name="T47" fmla="*/ 467 h 14288"/>
                <a:gd name="T48" fmla="*/ 989 w 4321"/>
                <a:gd name="T49" fmla="*/ 357 h 14288"/>
                <a:gd name="T50" fmla="*/ 1210 w 4321"/>
                <a:gd name="T51" fmla="*/ 206 h 14288"/>
                <a:gd name="T52" fmla="*/ 1652 w 4321"/>
                <a:gd name="T53" fmla="*/ 61 h 14288"/>
                <a:gd name="T54" fmla="*/ 2024 w 4321"/>
                <a:gd name="T55" fmla="*/ 5 h 14288"/>
                <a:gd name="T56" fmla="*/ 2431 w 4321"/>
                <a:gd name="T57" fmla="*/ 20 h 14288"/>
                <a:gd name="T58" fmla="*/ 2893 w 4321"/>
                <a:gd name="T59" fmla="*/ 121 h 14288"/>
                <a:gd name="T60" fmla="*/ 3306 w 4321"/>
                <a:gd name="T61" fmla="*/ 332 h 14288"/>
                <a:gd name="T62" fmla="*/ 3366 w 4321"/>
                <a:gd name="T63" fmla="*/ 427 h 14288"/>
                <a:gd name="T64" fmla="*/ 3366 w 4321"/>
                <a:gd name="T65" fmla="*/ 1442 h 14288"/>
                <a:gd name="T66" fmla="*/ 3326 w 4321"/>
                <a:gd name="T67" fmla="*/ 1512 h 14288"/>
                <a:gd name="T68" fmla="*/ 3245 w 4321"/>
                <a:gd name="T69" fmla="*/ 1533 h 14288"/>
                <a:gd name="T70" fmla="*/ 3195 w 4321"/>
                <a:gd name="T71" fmla="*/ 1573 h 14288"/>
                <a:gd name="T72" fmla="*/ 3190 w 4321"/>
                <a:gd name="T73" fmla="*/ 1990 h 14288"/>
                <a:gd name="T74" fmla="*/ 3215 w 4321"/>
                <a:gd name="T75" fmla="*/ 2025 h 14288"/>
                <a:gd name="T76" fmla="*/ 3607 w 4321"/>
                <a:gd name="T77" fmla="*/ 2397 h 14288"/>
                <a:gd name="T78" fmla="*/ 3913 w 4321"/>
                <a:gd name="T79" fmla="*/ 2824 h 14288"/>
                <a:gd name="T80" fmla="*/ 4139 w 4321"/>
                <a:gd name="T81" fmla="*/ 3316 h 14288"/>
                <a:gd name="T82" fmla="*/ 4290 w 4321"/>
                <a:gd name="T83" fmla="*/ 3879 h 14288"/>
                <a:gd name="T84" fmla="*/ 4300 w 4321"/>
                <a:gd name="T85" fmla="*/ 4838 h 14288"/>
                <a:gd name="T86" fmla="*/ 4210 w 4321"/>
                <a:gd name="T87" fmla="*/ 5014 h 14288"/>
                <a:gd name="T88" fmla="*/ 4114 w 4321"/>
                <a:gd name="T89" fmla="*/ 5130 h 14288"/>
                <a:gd name="T90" fmla="*/ 4034 w 4321"/>
                <a:gd name="T91" fmla="*/ 5235 h 14288"/>
                <a:gd name="T92" fmla="*/ 4009 w 4321"/>
                <a:gd name="T93" fmla="*/ 5371 h 14288"/>
                <a:gd name="T94" fmla="*/ 4019 w 4321"/>
                <a:gd name="T95" fmla="*/ 5531 h 14288"/>
                <a:gd name="T96" fmla="*/ 4109 w 4321"/>
                <a:gd name="T97" fmla="*/ 5712 h 14288"/>
                <a:gd name="T98" fmla="*/ 4210 w 4321"/>
                <a:gd name="T99" fmla="*/ 5818 h 14288"/>
                <a:gd name="T100" fmla="*/ 4300 w 4321"/>
                <a:gd name="T101" fmla="*/ 5964 h 14288"/>
                <a:gd name="T102" fmla="*/ 4320 w 4321"/>
                <a:gd name="T103" fmla="*/ 13699 h 14288"/>
                <a:gd name="T104" fmla="*/ 4230 w 4321"/>
                <a:gd name="T105" fmla="*/ 13895 h 14288"/>
                <a:gd name="T106" fmla="*/ 4044 w 4321"/>
                <a:gd name="T107" fmla="*/ 14082 h 14288"/>
                <a:gd name="T108" fmla="*/ 3803 w 4321"/>
                <a:gd name="T109" fmla="*/ 14202 h 14288"/>
                <a:gd name="T110" fmla="*/ 2160 w 4321"/>
                <a:gd name="T111" fmla="*/ 14287 h 14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1" h="14288">
                  <a:moveTo>
                    <a:pt x="2160" y="14287"/>
                  </a:moveTo>
                  <a:lnTo>
                    <a:pt x="879" y="14287"/>
                  </a:lnTo>
                  <a:lnTo>
                    <a:pt x="879" y="14287"/>
                  </a:lnTo>
                  <a:lnTo>
                    <a:pt x="728" y="14262"/>
                  </a:lnTo>
                  <a:lnTo>
                    <a:pt x="587" y="14227"/>
                  </a:lnTo>
                  <a:lnTo>
                    <a:pt x="517" y="14202"/>
                  </a:lnTo>
                  <a:lnTo>
                    <a:pt x="452" y="14182"/>
                  </a:lnTo>
                  <a:lnTo>
                    <a:pt x="392" y="14152"/>
                  </a:lnTo>
                  <a:lnTo>
                    <a:pt x="331" y="14121"/>
                  </a:lnTo>
                  <a:lnTo>
                    <a:pt x="276" y="14082"/>
                  </a:lnTo>
                  <a:lnTo>
                    <a:pt x="221" y="14046"/>
                  </a:lnTo>
                  <a:lnTo>
                    <a:pt x="176" y="14001"/>
                  </a:lnTo>
                  <a:lnTo>
                    <a:pt x="131" y="13951"/>
                  </a:lnTo>
                  <a:lnTo>
                    <a:pt x="90" y="13895"/>
                  </a:lnTo>
                  <a:lnTo>
                    <a:pt x="55" y="13835"/>
                  </a:lnTo>
                  <a:lnTo>
                    <a:pt x="25" y="13770"/>
                  </a:lnTo>
                  <a:lnTo>
                    <a:pt x="0" y="13699"/>
                  </a:lnTo>
                  <a:lnTo>
                    <a:pt x="0" y="6099"/>
                  </a:lnTo>
                  <a:lnTo>
                    <a:pt x="0" y="6099"/>
                  </a:lnTo>
                  <a:lnTo>
                    <a:pt x="0" y="6054"/>
                  </a:lnTo>
                  <a:lnTo>
                    <a:pt x="10" y="6009"/>
                  </a:lnTo>
                  <a:lnTo>
                    <a:pt x="20" y="5964"/>
                  </a:lnTo>
                  <a:lnTo>
                    <a:pt x="35" y="5924"/>
                  </a:lnTo>
                  <a:lnTo>
                    <a:pt x="55" y="5883"/>
                  </a:lnTo>
                  <a:lnTo>
                    <a:pt x="80" y="5848"/>
                  </a:lnTo>
                  <a:lnTo>
                    <a:pt x="110" y="5818"/>
                  </a:lnTo>
                  <a:lnTo>
                    <a:pt x="140" y="5788"/>
                  </a:lnTo>
                  <a:lnTo>
                    <a:pt x="140" y="5788"/>
                  </a:lnTo>
                  <a:lnTo>
                    <a:pt x="176" y="5748"/>
                  </a:lnTo>
                  <a:lnTo>
                    <a:pt x="211" y="5712"/>
                  </a:lnTo>
                  <a:lnTo>
                    <a:pt x="241" y="5672"/>
                  </a:lnTo>
                  <a:lnTo>
                    <a:pt x="266" y="5627"/>
                  </a:lnTo>
                  <a:lnTo>
                    <a:pt x="286" y="5582"/>
                  </a:lnTo>
                  <a:lnTo>
                    <a:pt x="301" y="5531"/>
                  </a:lnTo>
                  <a:lnTo>
                    <a:pt x="306" y="5476"/>
                  </a:lnTo>
                  <a:lnTo>
                    <a:pt x="311" y="5421"/>
                  </a:lnTo>
                  <a:lnTo>
                    <a:pt x="311" y="5371"/>
                  </a:lnTo>
                  <a:lnTo>
                    <a:pt x="311" y="5371"/>
                  </a:lnTo>
                  <a:lnTo>
                    <a:pt x="311" y="5335"/>
                  </a:lnTo>
                  <a:lnTo>
                    <a:pt x="306" y="5301"/>
                  </a:lnTo>
                  <a:lnTo>
                    <a:pt x="296" y="5265"/>
                  </a:lnTo>
                  <a:lnTo>
                    <a:pt x="281" y="5235"/>
                  </a:lnTo>
                  <a:lnTo>
                    <a:pt x="266" y="5205"/>
                  </a:lnTo>
                  <a:lnTo>
                    <a:pt x="251" y="5180"/>
                  </a:lnTo>
                  <a:lnTo>
                    <a:pt x="231" y="5155"/>
                  </a:lnTo>
                  <a:lnTo>
                    <a:pt x="206" y="5130"/>
                  </a:lnTo>
                  <a:lnTo>
                    <a:pt x="206" y="5130"/>
                  </a:lnTo>
                  <a:lnTo>
                    <a:pt x="171" y="5100"/>
                  </a:lnTo>
                  <a:lnTo>
                    <a:pt x="140" y="5059"/>
                  </a:lnTo>
                  <a:lnTo>
                    <a:pt x="105" y="5014"/>
                  </a:lnTo>
                  <a:lnTo>
                    <a:pt x="75" y="4969"/>
                  </a:lnTo>
                  <a:lnTo>
                    <a:pt x="75" y="4969"/>
                  </a:lnTo>
                  <a:lnTo>
                    <a:pt x="45" y="4904"/>
                  </a:lnTo>
                  <a:lnTo>
                    <a:pt x="20" y="4838"/>
                  </a:lnTo>
                  <a:lnTo>
                    <a:pt x="5" y="4763"/>
                  </a:lnTo>
                  <a:lnTo>
                    <a:pt x="5" y="4687"/>
                  </a:lnTo>
                  <a:lnTo>
                    <a:pt x="30" y="3879"/>
                  </a:lnTo>
                  <a:lnTo>
                    <a:pt x="30" y="3879"/>
                  </a:lnTo>
                  <a:lnTo>
                    <a:pt x="60" y="3728"/>
                  </a:lnTo>
                  <a:lnTo>
                    <a:pt x="95" y="3588"/>
                  </a:lnTo>
                  <a:lnTo>
                    <a:pt x="135" y="3447"/>
                  </a:lnTo>
                  <a:lnTo>
                    <a:pt x="181" y="3316"/>
                  </a:lnTo>
                  <a:lnTo>
                    <a:pt x="226" y="3186"/>
                  </a:lnTo>
                  <a:lnTo>
                    <a:pt x="281" y="3060"/>
                  </a:lnTo>
                  <a:lnTo>
                    <a:pt x="341" y="2940"/>
                  </a:lnTo>
                  <a:lnTo>
                    <a:pt x="407" y="2824"/>
                  </a:lnTo>
                  <a:lnTo>
                    <a:pt x="477" y="2713"/>
                  </a:lnTo>
                  <a:lnTo>
                    <a:pt x="548" y="2603"/>
                  </a:lnTo>
                  <a:lnTo>
                    <a:pt x="628" y="2497"/>
                  </a:lnTo>
                  <a:lnTo>
                    <a:pt x="713" y="2397"/>
                  </a:lnTo>
                  <a:lnTo>
                    <a:pt x="804" y="2301"/>
                  </a:lnTo>
                  <a:lnTo>
                    <a:pt x="899" y="2206"/>
                  </a:lnTo>
                  <a:lnTo>
                    <a:pt x="1000" y="2115"/>
                  </a:lnTo>
                  <a:lnTo>
                    <a:pt x="1105" y="2025"/>
                  </a:lnTo>
                  <a:lnTo>
                    <a:pt x="1105" y="2025"/>
                  </a:lnTo>
                  <a:lnTo>
                    <a:pt x="1115" y="2015"/>
                  </a:lnTo>
                  <a:lnTo>
                    <a:pt x="1125" y="2005"/>
                  </a:lnTo>
                  <a:lnTo>
                    <a:pt x="1130" y="1990"/>
                  </a:lnTo>
                  <a:lnTo>
                    <a:pt x="1130" y="1975"/>
                  </a:lnTo>
                  <a:lnTo>
                    <a:pt x="1130" y="1598"/>
                  </a:lnTo>
                  <a:lnTo>
                    <a:pt x="1130" y="1598"/>
                  </a:lnTo>
                  <a:lnTo>
                    <a:pt x="1125" y="1573"/>
                  </a:lnTo>
                  <a:lnTo>
                    <a:pt x="1115" y="1553"/>
                  </a:lnTo>
                  <a:lnTo>
                    <a:pt x="1095" y="1537"/>
                  </a:lnTo>
                  <a:lnTo>
                    <a:pt x="1075" y="1533"/>
                  </a:lnTo>
                  <a:lnTo>
                    <a:pt x="1050" y="1533"/>
                  </a:lnTo>
                  <a:lnTo>
                    <a:pt x="1050" y="1533"/>
                  </a:lnTo>
                  <a:lnTo>
                    <a:pt x="1030" y="1528"/>
                  </a:lnTo>
                  <a:lnTo>
                    <a:pt x="1009" y="1523"/>
                  </a:lnTo>
                  <a:lnTo>
                    <a:pt x="995" y="1512"/>
                  </a:lnTo>
                  <a:lnTo>
                    <a:pt x="979" y="1498"/>
                  </a:lnTo>
                  <a:lnTo>
                    <a:pt x="970" y="1482"/>
                  </a:lnTo>
                  <a:lnTo>
                    <a:pt x="959" y="1462"/>
                  </a:lnTo>
                  <a:lnTo>
                    <a:pt x="954" y="1442"/>
                  </a:lnTo>
                  <a:lnTo>
                    <a:pt x="949" y="1417"/>
                  </a:lnTo>
                  <a:lnTo>
                    <a:pt x="949" y="467"/>
                  </a:lnTo>
                  <a:lnTo>
                    <a:pt x="949" y="467"/>
                  </a:lnTo>
                  <a:lnTo>
                    <a:pt x="954" y="427"/>
                  </a:lnTo>
                  <a:lnTo>
                    <a:pt x="970" y="392"/>
                  </a:lnTo>
                  <a:lnTo>
                    <a:pt x="989" y="357"/>
                  </a:lnTo>
                  <a:lnTo>
                    <a:pt x="1015" y="332"/>
                  </a:lnTo>
                  <a:lnTo>
                    <a:pt x="1015" y="332"/>
                  </a:lnTo>
                  <a:lnTo>
                    <a:pt x="1110" y="266"/>
                  </a:lnTo>
                  <a:lnTo>
                    <a:pt x="1210" y="206"/>
                  </a:lnTo>
                  <a:lnTo>
                    <a:pt x="1316" y="161"/>
                  </a:lnTo>
                  <a:lnTo>
                    <a:pt x="1426" y="121"/>
                  </a:lnTo>
                  <a:lnTo>
                    <a:pt x="1537" y="86"/>
                  </a:lnTo>
                  <a:lnTo>
                    <a:pt x="1652" y="61"/>
                  </a:lnTo>
                  <a:lnTo>
                    <a:pt x="1768" y="41"/>
                  </a:lnTo>
                  <a:lnTo>
                    <a:pt x="1889" y="20"/>
                  </a:lnTo>
                  <a:lnTo>
                    <a:pt x="1889" y="20"/>
                  </a:lnTo>
                  <a:lnTo>
                    <a:pt x="2024" y="5"/>
                  </a:lnTo>
                  <a:lnTo>
                    <a:pt x="2160" y="0"/>
                  </a:lnTo>
                  <a:lnTo>
                    <a:pt x="2296" y="5"/>
                  </a:lnTo>
                  <a:lnTo>
                    <a:pt x="2431" y="20"/>
                  </a:lnTo>
                  <a:lnTo>
                    <a:pt x="2431" y="20"/>
                  </a:lnTo>
                  <a:lnTo>
                    <a:pt x="2547" y="41"/>
                  </a:lnTo>
                  <a:lnTo>
                    <a:pt x="2667" y="61"/>
                  </a:lnTo>
                  <a:lnTo>
                    <a:pt x="2783" y="86"/>
                  </a:lnTo>
                  <a:lnTo>
                    <a:pt x="2893" y="121"/>
                  </a:lnTo>
                  <a:lnTo>
                    <a:pt x="3004" y="161"/>
                  </a:lnTo>
                  <a:lnTo>
                    <a:pt x="3110" y="206"/>
                  </a:lnTo>
                  <a:lnTo>
                    <a:pt x="3210" y="266"/>
                  </a:lnTo>
                  <a:lnTo>
                    <a:pt x="3306" y="332"/>
                  </a:lnTo>
                  <a:lnTo>
                    <a:pt x="3306" y="332"/>
                  </a:lnTo>
                  <a:lnTo>
                    <a:pt x="3331" y="357"/>
                  </a:lnTo>
                  <a:lnTo>
                    <a:pt x="3351" y="392"/>
                  </a:lnTo>
                  <a:lnTo>
                    <a:pt x="3366" y="427"/>
                  </a:lnTo>
                  <a:lnTo>
                    <a:pt x="3366" y="467"/>
                  </a:lnTo>
                  <a:lnTo>
                    <a:pt x="3366" y="1417"/>
                  </a:lnTo>
                  <a:lnTo>
                    <a:pt x="3366" y="1417"/>
                  </a:lnTo>
                  <a:lnTo>
                    <a:pt x="3366" y="1442"/>
                  </a:lnTo>
                  <a:lnTo>
                    <a:pt x="3361" y="1462"/>
                  </a:lnTo>
                  <a:lnTo>
                    <a:pt x="3351" y="1482"/>
                  </a:lnTo>
                  <a:lnTo>
                    <a:pt x="3340" y="1498"/>
                  </a:lnTo>
                  <a:lnTo>
                    <a:pt x="3326" y="1512"/>
                  </a:lnTo>
                  <a:lnTo>
                    <a:pt x="3306" y="1523"/>
                  </a:lnTo>
                  <a:lnTo>
                    <a:pt x="3290" y="1528"/>
                  </a:lnTo>
                  <a:lnTo>
                    <a:pt x="3270" y="1533"/>
                  </a:lnTo>
                  <a:lnTo>
                    <a:pt x="3245" y="1533"/>
                  </a:lnTo>
                  <a:lnTo>
                    <a:pt x="3245" y="1533"/>
                  </a:lnTo>
                  <a:lnTo>
                    <a:pt x="3225" y="1537"/>
                  </a:lnTo>
                  <a:lnTo>
                    <a:pt x="3205" y="1553"/>
                  </a:lnTo>
                  <a:lnTo>
                    <a:pt x="3195" y="1573"/>
                  </a:lnTo>
                  <a:lnTo>
                    <a:pt x="3190" y="1598"/>
                  </a:lnTo>
                  <a:lnTo>
                    <a:pt x="3190" y="1975"/>
                  </a:lnTo>
                  <a:lnTo>
                    <a:pt x="3190" y="1975"/>
                  </a:lnTo>
                  <a:lnTo>
                    <a:pt x="3190" y="1990"/>
                  </a:lnTo>
                  <a:lnTo>
                    <a:pt x="3195" y="2005"/>
                  </a:lnTo>
                  <a:lnTo>
                    <a:pt x="3205" y="2015"/>
                  </a:lnTo>
                  <a:lnTo>
                    <a:pt x="3215" y="2025"/>
                  </a:lnTo>
                  <a:lnTo>
                    <a:pt x="3215" y="2025"/>
                  </a:lnTo>
                  <a:lnTo>
                    <a:pt x="3320" y="2115"/>
                  </a:lnTo>
                  <a:lnTo>
                    <a:pt x="3421" y="2206"/>
                  </a:lnTo>
                  <a:lnTo>
                    <a:pt x="3516" y="2301"/>
                  </a:lnTo>
                  <a:lnTo>
                    <a:pt x="3607" y="2397"/>
                  </a:lnTo>
                  <a:lnTo>
                    <a:pt x="3692" y="2497"/>
                  </a:lnTo>
                  <a:lnTo>
                    <a:pt x="3767" y="2603"/>
                  </a:lnTo>
                  <a:lnTo>
                    <a:pt x="3843" y="2713"/>
                  </a:lnTo>
                  <a:lnTo>
                    <a:pt x="3913" y="2824"/>
                  </a:lnTo>
                  <a:lnTo>
                    <a:pt x="3979" y="2940"/>
                  </a:lnTo>
                  <a:lnTo>
                    <a:pt x="4039" y="3060"/>
                  </a:lnTo>
                  <a:lnTo>
                    <a:pt x="4089" y="3186"/>
                  </a:lnTo>
                  <a:lnTo>
                    <a:pt x="4139" y="3316"/>
                  </a:lnTo>
                  <a:lnTo>
                    <a:pt x="4184" y="3447"/>
                  </a:lnTo>
                  <a:lnTo>
                    <a:pt x="4225" y="3588"/>
                  </a:lnTo>
                  <a:lnTo>
                    <a:pt x="4260" y="3728"/>
                  </a:lnTo>
                  <a:lnTo>
                    <a:pt x="4290" y="3879"/>
                  </a:lnTo>
                  <a:lnTo>
                    <a:pt x="4315" y="4687"/>
                  </a:lnTo>
                  <a:lnTo>
                    <a:pt x="4315" y="4687"/>
                  </a:lnTo>
                  <a:lnTo>
                    <a:pt x="4315" y="4763"/>
                  </a:lnTo>
                  <a:lnTo>
                    <a:pt x="4300" y="4838"/>
                  </a:lnTo>
                  <a:lnTo>
                    <a:pt x="4275" y="4904"/>
                  </a:lnTo>
                  <a:lnTo>
                    <a:pt x="4245" y="4969"/>
                  </a:lnTo>
                  <a:lnTo>
                    <a:pt x="4245" y="4969"/>
                  </a:lnTo>
                  <a:lnTo>
                    <a:pt x="4210" y="5014"/>
                  </a:lnTo>
                  <a:lnTo>
                    <a:pt x="4180" y="5059"/>
                  </a:lnTo>
                  <a:lnTo>
                    <a:pt x="4150" y="5100"/>
                  </a:lnTo>
                  <a:lnTo>
                    <a:pt x="4114" y="5130"/>
                  </a:lnTo>
                  <a:lnTo>
                    <a:pt x="4114" y="5130"/>
                  </a:lnTo>
                  <a:lnTo>
                    <a:pt x="4089" y="5155"/>
                  </a:lnTo>
                  <a:lnTo>
                    <a:pt x="4069" y="5180"/>
                  </a:lnTo>
                  <a:lnTo>
                    <a:pt x="4049" y="5205"/>
                  </a:lnTo>
                  <a:lnTo>
                    <a:pt x="4034" y="5235"/>
                  </a:lnTo>
                  <a:lnTo>
                    <a:pt x="4024" y="5265"/>
                  </a:lnTo>
                  <a:lnTo>
                    <a:pt x="4013" y="5301"/>
                  </a:lnTo>
                  <a:lnTo>
                    <a:pt x="4009" y="5335"/>
                  </a:lnTo>
                  <a:lnTo>
                    <a:pt x="4009" y="5371"/>
                  </a:lnTo>
                  <a:lnTo>
                    <a:pt x="4009" y="5421"/>
                  </a:lnTo>
                  <a:lnTo>
                    <a:pt x="4009" y="5421"/>
                  </a:lnTo>
                  <a:lnTo>
                    <a:pt x="4009" y="5476"/>
                  </a:lnTo>
                  <a:lnTo>
                    <a:pt x="4019" y="5531"/>
                  </a:lnTo>
                  <a:lnTo>
                    <a:pt x="4034" y="5582"/>
                  </a:lnTo>
                  <a:lnTo>
                    <a:pt x="4054" y="5627"/>
                  </a:lnTo>
                  <a:lnTo>
                    <a:pt x="4079" y="5672"/>
                  </a:lnTo>
                  <a:lnTo>
                    <a:pt x="4109" y="5712"/>
                  </a:lnTo>
                  <a:lnTo>
                    <a:pt x="4144" y="5748"/>
                  </a:lnTo>
                  <a:lnTo>
                    <a:pt x="4180" y="5788"/>
                  </a:lnTo>
                  <a:lnTo>
                    <a:pt x="4180" y="5788"/>
                  </a:lnTo>
                  <a:lnTo>
                    <a:pt x="4210" y="5818"/>
                  </a:lnTo>
                  <a:lnTo>
                    <a:pt x="4240" y="5848"/>
                  </a:lnTo>
                  <a:lnTo>
                    <a:pt x="4265" y="5883"/>
                  </a:lnTo>
                  <a:lnTo>
                    <a:pt x="4285" y="5924"/>
                  </a:lnTo>
                  <a:lnTo>
                    <a:pt x="4300" y="5964"/>
                  </a:lnTo>
                  <a:lnTo>
                    <a:pt x="4310" y="6009"/>
                  </a:lnTo>
                  <a:lnTo>
                    <a:pt x="4320" y="6054"/>
                  </a:lnTo>
                  <a:lnTo>
                    <a:pt x="4320" y="6099"/>
                  </a:lnTo>
                  <a:lnTo>
                    <a:pt x="4320" y="13699"/>
                  </a:lnTo>
                  <a:lnTo>
                    <a:pt x="4320" y="13699"/>
                  </a:lnTo>
                  <a:lnTo>
                    <a:pt x="4295" y="13770"/>
                  </a:lnTo>
                  <a:lnTo>
                    <a:pt x="4265" y="13835"/>
                  </a:lnTo>
                  <a:lnTo>
                    <a:pt x="4230" y="13895"/>
                  </a:lnTo>
                  <a:lnTo>
                    <a:pt x="4189" y="13951"/>
                  </a:lnTo>
                  <a:lnTo>
                    <a:pt x="4144" y="14001"/>
                  </a:lnTo>
                  <a:lnTo>
                    <a:pt x="4099" y="14046"/>
                  </a:lnTo>
                  <a:lnTo>
                    <a:pt x="4044" y="14082"/>
                  </a:lnTo>
                  <a:lnTo>
                    <a:pt x="3988" y="14121"/>
                  </a:lnTo>
                  <a:lnTo>
                    <a:pt x="3929" y="14152"/>
                  </a:lnTo>
                  <a:lnTo>
                    <a:pt x="3868" y="14182"/>
                  </a:lnTo>
                  <a:lnTo>
                    <a:pt x="3803" y="14202"/>
                  </a:lnTo>
                  <a:lnTo>
                    <a:pt x="3732" y="14227"/>
                  </a:lnTo>
                  <a:lnTo>
                    <a:pt x="3591" y="14262"/>
                  </a:lnTo>
                  <a:lnTo>
                    <a:pt x="3441" y="14287"/>
                  </a:lnTo>
                  <a:lnTo>
                    <a:pt x="2160" y="14287"/>
                  </a:lnTo>
                </a:path>
              </a:pathLst>
            </a:custGeom>
            <a:noFill/>
            <a:ln w="12700">
              <a:solidFill>
                <a:schemeClr val="bg1">
                  <a:alpha val="30000"/>
                </a:schemeClr>
              </a:solidFill>
            </a:ln>
            <a:effectLst/>
          </p:spPr>
          <p:txBody>
            <a:bodyPr wrap="none" anchor="ctr"/>
            <a:lstStyle/>
            <a:p>
              <a:endParaRPr lang="en-US" sz="1709"/>
            </a:p>
          </p:txBody>
        </p:sp>
        <p:sp>
          <p:nvSpPr>
            <p:cNvPr id="11" name="Freeform 10">
              <a:extLst>
                <a:ext uri="{FF2B5EF4-FFF2-40B4-BE49-F238E27FC236}">
                  <a16:creationId xmlns:a16="http://schemas.microsoft.com/office/drawing/2014/main" id="{D553E484-C7EF-C14F-8178-2A696F3D3D60}"/>
                </a:ext>
              </a:extLst>
            </p:cNvPr>
            <p:cNvSpPr>
              <a:spLocks noChangeArrowheads="1"/>
            </p:cNvSpPr>
            <p:nvPr/>
          </p:nvSpPr>
          <p:spPr bwMode="auto">
            <a:xfrm>
              <a:off x="7386949" y="1702899"/>
              <a:ext cx="1027013" cy="3956563"/>
            </a:xfrm>
            <a:custGeom>
              <a:avLst/>
              <a:gdLst>
                <a:gd name="T0" fmla="*/ 532 w 4064"/>
                <a:gd name="T1" fmla="*/ 15664 h 15665"/>
                <a:gd name="T2" fmla="*/ 366 w 4064"/>
                <a:gd name="T3" fmla="*/ 15654 h 15665"/>
                <a:gd name="T4" fmla="*/ 240 w 4064"/>
                <a:gd name="T5" fmla="*/ 15604 h 15665"/>
                <a:gd name="T6" fmla="*/ 140 w 4064"/>
                <a:gd name="T7" fmla="*/ 15524 h 15665"/>
                <a:gd name="T8" fmla="*/ 39 w 4064"/>
                <a:gd name="T9" fmla="*/ 15383 h 15665"/>
                <a:gd name="T10" fmla="*/ 29 w 4064"/>
                <a:gd name="T11" fmla="*/ 5452 h 15665"/>
                <a:gd name="T12" fmla="*/ 34 w 4064"/>
                <a:gd name="T13" fmla="*/ 4698 h 15665"/>
                <a:gd name="T14" fmla="*/ 70 w 4064"/>
                <a:gd name="T15" fmla="*/ 4055 h 15665"/>
                <a:gd name="T16" fmla="*/ 115 w 4064"/>
                <a:gd name="T17" fmla="*/ 3688 h 15665"/>
                <a:gd name="T18" fmla="*/ 346 w 4064"/>
                <a:gd name="T19" fmla="*/ 3125 h 15665"/>
                <a:gd name="T20" fmla="*/ 637 w 4064"/>
                <a:gd name="T21" fmla="*/ 2603 h 15665"/>
                <a:gd name="T22" fmla="*/ 858 w 4064"/>
                <a:gd name="T23" fmla="*/ 2272 h 15665"/>
                <a:gd name="T24" fmla="*/ 878 w 4064"/>
                <a:gd name="T25" fmla="*/ 1739 h 15665"/>
                <a:gd name="T26" fmla="*/ 863 w 4064"/>
                <a:gd name="T27" fmla="*/ 1679 h 15665"/>
                <a:gd name="T28" fmla="*/ 778 w 4064"/>
                <a:gd name="T29" fmla="*/ 1623 h 15665"/>
                <a:gd name="T30" fmla="*/ 723 w 4064"/>
                <a:gd name="T31" fmla="*/ 1588 h 15665"/>
                <a:gd name="T32" fmla="*/ 688 w 4064"/>
                <a:gd name="T33" fmla="*/ 1498 h 15665"/>
                <a:gd name="T34" fmla="*/ 673 w 4064"/>
                <a:gd name="T35" fmla="*/ 1382 h 15665"/>
                <a:gd name="T36" fmla="*/ 657 w 4064"/>
                <a:gd name="T37" fmla="*/ 609 h 15665"/>
                <a:gd name="T38" fmla="*/ 673 w 4064"/>
                <a:gd name="T39" fmla="*/ 312 h 15665"/>
                <a:gd name="T40" fmla="*/ 718 w 4064"/>
                <a:gd name="T41" fmla="*/ 167 h 15665"/>
                <a:gd name="T42" fmla="*/ 813 w 4064"/>
                <a:gd name="T43" fmla="*/ 76 h 15665"/>
                <a:gd name="T44" fmla="*/ 894 w 4064"/>
                <a:gd name="T45" fmla="*/ 51 h 15665"/>
                <a:gd name="T46" fmla="*/ 1752 w 4064"/>
                <a:gd name="T47" fmla="*/ 5 h 15665"/>
                <a:gd name="T48" fmla="*/ 2607 w 4064"/>
                <a:gd name="T49" fmla="*/ 16 h 15665"/>
                <a:gd name="T50" fmla="*/ 3169 w 4064"/>
                <a:gd name="T51" fmla="*/ 51 h 15665"/>
                <a:gd name="T52" fmla="*/ 3285 w 4064"/>
                <a:gd name="T53" fmla="*/ 96 h 15665"/>
                <a:gd name="T54" fmla="*/ 3365 w 4064"/>
                <a:gd name="T55" fmla="*/ 212 h 15665"/>
                <a:gd name="T56" fmla="*/ 3385 w 4064"/>
                <a:gd name="T57" fmla="*/ 312 h 15665"/>
                <a:gd name="T58" fmla="*/ 3405 w 4064"/>
                <a:gd name="T59" fmla="*/ 885 h 15665"/>
                <a:gd name="T60" fmla="*/ 3385 w 4064"/>
                <a:gd name="T61" fmla="*/ 1382 h 15665"/>
                <a:gd name="T62" fmla="*/ 3365 w 4064"/>
                <a:gd name="T63" fmla="*/ 1533 h 15665"/>
                <a:gd name="T64" fmla="*/ 3315 w 4064"/>
                <a:gd name="T65" fmla="*/ 1608 h 15665"/>
                <a:gd name="T66" fmla="*/ 3234 w 4064"/>
                <a:gd name="T67" fmla="*/ 1638 h 15665"/>
                <a:gd name="T68" fmla="*/ 3184 w 4064"/>
                <a:gd name="T69" fmla="*/ 1709 h 15665"/>
                <a:gd name="T70" fmla="*/ 3179 w 4064"/>
                <a:gd name="T71" fmla="*/ 2201 h 15665"/>
                <a:gd name="T72" fmla="*/ 3205 w 4064"/>
                <a:gd name="T73" fmla="*/ 2272 h 15665"/>
                <a:gd name="T74" fmla="*/ 3526 w 4064"/>
                <a:gd name="T75" fmla="*/ 2774 h 15665"/>
                <a:gd name="T76" fmla="*/ 3797 w 4064"/>
                <a:gd name="T77" fmla="*/ 3306 h 15665"/>
                <a:gd name="T78" fmla="*/ 3948 w 4064"/>
                <a:gd name="T79" fmla="*/ 3688 h 15665"/>
                <a:gd name="T80" fmla="*/ 4008 w 4064"/>
                <a:gd name="T81" fmla="*/ 4256 h 15665"/>
                <a:gd name="T82" fmla="*/ 4033 w 4064"/>
                <a:gd name="T83" fmla="*/ 4939 h 15665"/>
                <a:gd name="T84" fmla="*/ 4063 w 4064"/>
                <a:gd name="T85" fmla="*/ 15297 h 15665"/>
                <a:gd name="T86" fmla="*/ 3973 w 4064"/>
                <a:gd name="T87" fmla="*/ 15453 h 15665"/>
                <a:gd name="T88" fmla="*/ 3893 w 4064"/>
                <a:gd name="T89" fmla="*/ 15554 h 15665"/>
                <a:gd name="T90" fmla="*/ 3782 w 4064"/>
                <a:gd name="T91" fmla="*/ 15624 h 15665"/>
                <a:gd name="T92" fmla="*/ 3641 w 4064"/>
                <a:gd name="T93" fmla="*/ 15659 h 15665"/>
                <a:gd name="T94" fmla="*/ 3466 w 4064"/>
                <a:gd name="T95" fmla="*/ 15659 h 15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64" h="15665">
                  <a:moveTo>
                    <a:pt x="597" y="15659"/>
                  </a:moveTo>
                  <a:lnTo>
                    <a:pt x="597" y="15659"/>
                  </a:lnTo>
                  <a:lnTo>
                    <a:pt x="532" y="15664"/>
                  </a:lnTo>
                  <a:lnTo>
                    <a:pt x="472" y="15664"/>
                  </a:lnTo>
                  <a:lnTo>
                    <a:pt x="416" y="15659"/>
                  </a:lnTo>
                  <a:lnTo>
                    <a:pt x="366" y="15654"/>
                  </a:lnTo>
                  <a:lnTo>
                    <a:pt x="321" y="15639"/>
                  </a:lnTo>
                  <a:lnTo>
                    <a:pt x="281" y="15624"/>
                  </a:lnTo>
                  <a:lnTo>
                    <a:pt x="240" y="15604"/>
                  </a:lnTo>
                  <a:lnTo>
                    <a:pt x="205" y="15579"/>
                  </a:lnTo>
                  <a:lnTo>
                    <a:pt x="170" y="15554"/>
                  </a:lnTo>
                  <a:lnTo>
                    <a:pt x="140" y="15524"/>
                  </a:lnTo>
                  <a:lnTo>
                    <a:pt x="110" y="15488"/>
                  </a:lnTo>
                  <a:lnTo>
                    <a:pt x="84" y="15453"/>
                  </a:lnTo>
                  <a:lnTo>
                    <a:pt x="39" y="15383"/>
                  </a:lnTo>
                  <a:lnTo>
                    <a:pt x="0" y="15297"/>
                  </a:lnTo>
                  <a:lnTo>
                    <a:pt x="29" y="5452"/>
                  </a:lnTo>
                  <a:lnTo>
                    <a:pt x="29" y="5452"/>
                  </a:lnTo>
                  <a:lnTo>
                    <a:pt x="25" y="5190"/>
                  </a:lnTo>
                  <a:lnTo>
                    <a:pt x="29" y="4939"/>
                  </a:lnTo>
                  <a:lnTo>
                    <a:pt x="34" y="4698"/>
                  </a:lnTo>
                  <a:lnTo>
                    <a:pt x="39" y="4472"/>
                  </a:lnTo>
                  <a:lnTo>
                    <a:pt x="55" y="4256"/>
                  </a:lnTo>
                  <a:lnTo>
                    <a:pt x="70" y="4055"/>
                  </a:lnTo>
                  <a:lnTo>
                    <a:pt x="90" y="3864"/>
                  </a:lnTo>
                  <a:lnTo>
                    <a:pt x="115" y="3688"/>
                  </a:lnTo>
                  <a:lnTo>
                    <a:pt x="115" y="3688"/>
                  </a:lnTo>
                  <a:lnTo>
                    <a:pt x="185" y="3497"/>
                  </a:lnTo>
                  <a:lnTo>
                    <a:pt x="260" y="3306"/>
                  </a:lnTo>
                  <a:lnTo>
                    <a:pt x="346" y="3125"/>
                  </a:lnTo>
                  <a:lnTo>
                    <a:pt x="436" y="2950"/>
                  </a:lnTo>
                  <a:lnTo>
                    <a:pt x="537" y="2774"/>
                  </a:lnTo>
                  <a:lnTo>
                    <a:pt x="637" y="2603"/>
                  </a:lnTo>
                  <a:lnTo>
                    <a:pt x="748" y="2437"/>
                  </a:lnTo>
                  <a:lnTo>
                    <a:pt x="858" y="2272"/>
                  </a:lnTo>
                  <a:lnTo>
                    <a:pt x="858" y="2272"/>
                  </a:lnTo>
                  <a:lnTo>
                    <a:pt x="873" y="2241"/>
                  </a:lnTo>
                  <a:lnTo>
                    <a:pt x="878" y="2201"/>
                  </a:lnTo>
                  <a:lnTo>
                    <a:pt x="878" y="1739"/>
                  </a:lnTo>
                  <a:lnTo>
                    <a:pt x="878" y="1739"/>
                  </a:lnTo>
                  <a:lnTo>
                    <a:pt x="878" y="1709"/>
                  </a:lnTo>
                  <a:lnTo>
                    <a:pt x="863" y="1679"/>
                  </a:lnTo>
                  <a:lnTo>
                    <a:pt x="848" y="1654"/>
                  </a:lnTo>
                  <a:lnTo>
                    <a:pt x="823" y="1638"/>
                  </a:lnTo>
                  <a:lnTo>
                    <a:pt x="778" y="1623"/>
                  </a:lnTo>
                  <a:lnTo>
                    <a:pt x="778" y="1623"/>
                  </a:lnTo>
                  <a:lnTo>
                    <a:pt x="748" y="1608"/>
                  </a:lnTo>
                  <a:lnTo>
                    <a:pt x="723" y="1588"/>
                  </a:lnTo>
                  <a:lnTo>
                    <a:pt x="707" y="1563"/>
                  </a:lnTo>
                  <a:lnTo>
                    <a:pt x="693" y="1533"/>
                  </a:lnTo>
                  <a:lnTo>
                    <a:pt x="688" y="1498"/>
                  </a:lnTo>
                  <a:lnTo>
                    <a:pt x="682" y="1463"/>
                  </a:lnTo>
                  <a:lnTo>
                    <a:pt x="673" y="1382"/>
                  </a:lnTo>
                  <a:lnTo>
                    <a:pt x="673" y="1382"/>
                  </a:lnTo>
                  <a:lnTo>
                    <a:pt x="662" y="1141"/>
                  </a:lnTo>
                  <a:lnTo>
                    <a:pt x="657" y="885"/>
                  </a:lnTo>
                  <a:lnTo>
                    <a:pt x="657" y="609"/>
                  </a:lnTo>
                  <a:lnTo>
                    <a:pt x="662" y="463"/>
                  </a:lnTo>
                  <a:lnTo>
                    <a:pt x="673" y="312"/>
                  </a:lnTo>
                  <a:lnTo>
                    <a:pt x="673" y="312"/>
                  </a:lnTo>
                  <a:lnTo>
                    <a:pt x="682" y="262"/>
                  </a:lnTo>
                  <a:lnTo>
                    <a:pt x="698" y="212"/>
                  </a:lnTo>
                  <a:lnTo>
                    <a:pt x="718" y="167"/>
                  </a:lnTo>
                  <a:lnTo>
                    <a:pt x="743" y="131"/>
                  </a:lnTo>
                  <a:lnTo>
                    <a:pt x="773" y="96"/>
                  </a:lnTo>
                  <a:lnTo>
                    <a:pt x="813" y="76"/>
                  </a:lnTo>
                  <a:lnTo>
                    <a:pt x="848" y="56"/>
                  </a:lnTo>
                  <a:lnTo>
                    <a:pt x="894" y="51"/>
                  </a:lnTo>
                  <a:lnTo>
                    <a:pt x="894" y="51"/>
                  </a:lnTo>
                  <a:lnTo>
                    <a:pt x="1180" y="31"/>
                  </a:lnTo>
                  <a:lnTo>
                    <a:pt x="1466" y="16"/>
                  </a:lnTo>
                  <a:lnTo>
                    <a:pt x="1752" y="5"/>
                  </a:lnTo>
                  <a:lnTo>
                    <a:pt x="2039" y="0"/>
                  </a:lnTo>
                  <a:lnTo>
                    <a:pt x="2325" y="5"/>
                  </a:lnTo>
                  <a:lnTo>
                    <a:pt x="2607" y="16"/>
                  </a:lnTo>
                  <a:lnTo>
                    <a:pt x="2888" y="31"/>
                  </a:lnTo>
                  <a:lnTo>
                    <a:pt x="3169" y="51"/>
                  </a:lnTo>
                  <a:lnTo>
                    <a:pt x="3169" y="51"/>
                  </a:lnTo>
                  <a:lnTo>
                    <a:pt x="3209" y="56"/>
                  </a:lnTo>
                  <a:lnTo>
                    <a:pt x="3250" y="76"/>
                  </a:lnTo>
                  <a:lnTo>
                    <a:pt x="3285" y="96"/>
                  </a:lnTo>
                  <a:lnTo>
                    <a:pt x="3315" y="131"/>
                  </a:lnTo>
                  <a:lnTo>
                    <a:pt x="3345" y="167"/>
                  </a:lnTo>
                  <a:lnTo>
                    <a:pt x="3365" y="212"/>
                  </a:lnTo>
                  <a:lnTo>
                    <a:pt x="3380" y="262"/>
                  </a:lnTo>
                  <a:lnTo>
                    <a:pt x="3385" y="312"/>
                  </a:lnTo>
                  <a:lnTo>
                    <a:pt x="3385" y="312"/>
                  </a:lnTo>
                  <a:lnTo>
                    <a:pt x="3395" y="463"/>
                  </a:lnTo>
                  <a:lnTo>
                    <a:pt x="3401" y="609"/>
                  </a:lnTo>
                  <a:lnTo>
                    <a:pt x="3405" y="885"/>
                  </a:lnTo>
                  <a:lnTo>
                    <a:pt x="3401" y="1141"/>
                  </a:lnTo>
                  <a:lnTo>
                    <a:pt x="3385" y="1382"/>
                  </a:lnTo>
                  <a:lnTo>
                    <a:pt x="3385" y="1382"/>
                  </a:lnTo>
                  <a:lnTo>
                    <a:pt x="3380" y="1463"/>
                  </a:lnTo>
                  <a:lnTo>
                    <a:pt x="3375" y="1498"/>
                  </a:lnTo>
                  <a:lnTo>
                    <a:pt x="3365" y="1533"/>
                  </a:lnTo>
                  <a:lnTo>
                    <a:pt x="3355" y="1563"/>
                  </a:lnTo>
                  <a:lnTo>
                    <a:pt x="3335" y="1588"/>
                  </a:lnTo>
                  <a:lnTo>
                    <a:pt x="3315" y="1608"/>
                  </a:lnTo>
                  <a:lnTo>
                    <a:pt x="3285" y="1623"/>
                  </a:lnTo>
                  <a:lnTo>
                    <a:pt x="3234" y="1638"/>
                  </a:lnTo>
                  <a:lnTo>
                    <a:pt x="3234" y="1638"/>
                  </a:lnTo>
                  <a:lnTo>
                    <a:pt x="3214" y="1654"/>
                  </a:lnTo>
                  <a:lnTo>
                    <a:pt x="3194" y="1679"/>
                  </a:lnTo>
                  <a:lnTo>
                    <a:pt x="3184" y="1709"/>
                  </a:lnTo>
                  <a:lnTo>
                    <a:pt x="3179" y="1739"/>
                  </a:lnTo>
                  <a:lnTo>
                    <a:pt x="3179" y="2201"/>
                  </a:lnTo>
                  <a:lnTo>
                    <a:pt x="3179" y="2201"/>
                  </a:lnTo>
                  <a:lnTo>
                    <a:pt x="3184" y="2241"/>
                  </a:lnTo>
                  <a:lnTo>
                    <a:pt x="3205" y="2272"/>
                  </a:lnTo>
                  <a:lnTo>
                    <a:pt x="3205" y="2272"/>
                  </a:lnTo>
                  <a:lnTo>
                    <a:pt x="3315" y="2437"/>
                  </a:lnTo>
                  <a:lnTo>
                    <a:pt x="3421" y="2603"/>
                  </a:lnTo>
                  <a:lnTo>
                    <a:pt x="3526" y="2774"/>
                  </a:lnTo>
                  <a:lnTo>
                    <a:pt x="3622" y="2950"/>
                  </a:lnTo>
                  <a:lnTo>
                    <a:pt x="3712" y="3125"/>
                  </a:lnTo>
                  <a:lnTo>
                    <a:pt x="3797" y="3306"/>
                  </a:lnTo>
                  <a:lnTo>
                    <a:pt x="3878" y="3497"/>
                  </a:lnTo>
                  <a:lnTo>
                    <a:pt x="3948" y="3688"/>
                  </a:lnTo>
                  <a:lnTo>
                    <a:pt x="3948" y="3688"/>
                  </a:lnTo>
                  <a:lnTo>
                    <a:pt x="3973" y="3864"/>
                  </a:lnTo>
                  <a:lnTo>
                    <a:pt x="3988" y="4055"/>
                  </a:lnTo>
                  <a:lnTo>
                    <a:pt x="4008" y="4256"/>
                  </a:lnTo>
                  <a:lnTo>
                    <a:pt x="4018" y="4472"/>
                  </a:lnTo>
                  <a:lnTo>
                    <a:pt x="4028" y="4698"/>
                  </a:lnTo>
                  <a:lnTo>
                    <a:pt x="4033" y="4939"/>
                  </a:lnTo>
                  <a:lnTo>
                    <a:pt x="4033" y="5190"/>
                  </a:lnTo>
                  <a:lnTo>
                    <a:pt x="4033" y="5452"/>
                  </a:lnTo>
                  <a:lnTo>
                    <a:pt x="4063" y="15297"/>
                  </a:lnTo>
                  <a:lnTo>
                    <a:pt x="4063" y="15297"/>
                  </a:lnTo>
                  <a:lnTo>
                    <a:pt x="4023" y="15383"/>
                  </a:lnTo>
                  <a:lnTo>
                    <a:pt x="3973" y="15453"/>
                  </a:lnTo>
                  <a:lnTo>
                    <a:pt x="3948" y="15488"/>
                  </a:lnTo>
                  <a:lnTo>
                    <a:pt x="3923" y="15524"/>
                  </a:lnTo>
                  <a:lnTo>
                    <a:pt x="3893" y="15554"/>
                  </a:lnTo>
                  <a:lnTo>
                    <a:pt x="3857" y="15579"/>
                  </a:lnTo>
                  <a:lnTo>
                    <a:pt x="3823" y="15604"/>
                  </a:lnTo>
                  <a:lnTo>
                    <a:pt x="3782" y="15624"/>
                  </a:lnTo>
                  <a:lnTo>
                    <a:pt x="3737" y="15639"/>
                  </a:lnTo>
                  <a:lnTo>
                    <a:pt x="3692" y="15654"/>
                  </a:lnTo>
                  <a:lnTo>
                    <a:pt x="3641" y="15659"/>
                  </a:lnTo>
                  <a:lnTo>
                    <a:pt x="3586" y="15664"/>
                  </a:lnTo>
                  <a:lnTo>
                    <a:pt x="3531" y="15664"/>
                  </a:lnTo>
                  <a:lnTo>
                    <a:pt x="3466" y="15659"/>
                  </a:lnTo>
                  <a:lnTo>
                    <a:pt x="597" y="15659"/>
                  </a:lnTo>
                </a:path>
              </a:pathLst>
            </a:custGeom>
            <a:noFill/>
            <a:ln w="12700">
              <a:solidFill>
                <a:schemeClr val="bg1">
                  <a:alpha val="30000"/>
                </a:schemeClr>
              </a:solidFill>
            </a:ln>
            <a:effectLst/>
          </p:spPr>
          <p:txBody>
            <a:bodyPr wrap="none" anchor="ctr"/>
            <a:lstStyle/>
            <a:p>
              <a:endParaRPr lang="en-US" sz="1709"/>
            </a:p>
          </p:txBody>
        </p:sp>
        <p:sp>
          <p:nvSpPr>
            <p:cNvPr id="12" name="Freeform 11">
              <a:extLst>
                <a:ext uri="{FF2B5EF4-FFF2-40B4-BE49-F238E27FC236}">
                  <a16:creationId xmlns:a16="http://schemas.microsoft.com/office/drawing/2014/main" id="{8BC78292-2A03-F04A-A6D1-332228F8707F}"/>
                </a:ext>
              </a:extLst>
            </p:cNvPr>
            <p:cNvSpPr>
              <a:spLocks noChangeArrowheads="1"/>
            </p:cNvSpPr>
            <p:nvPr/>
          </p:nvSpPr>
          <p:spPr bwMode="auto">
            <a:xfrm>
              <a:off x="4987615" y="1249543"/>
              <a:ext cx="1285437" cy="4573662"/>
            </a:xfrm>
            <a:custGeom>
              <a:avLst/>
              <a:gdLst>
                <a:gd name="T0" fmla="*/ 693 w 5090"/>
                <a:gd name="T1" fmla="*/ 18085 h 18106"/>
                <a:gd name="T2" fmla="*/ 357 w 5090"/>
                <a:gd name="T3" fmla="*/ 17965 h 18106"/>
                <a:gd name="T4" fmla="*/ 116 w 5090"/>
                <a:gd name="T5" fmla="*/ 17739 h 18106"/>
                <a:gd name="T6" fmla="*/ 20 w 5090"/>
                <a:gd name="T7" fmla="*/ 16734 h 18106"/>
                <a:gd name="T8" fmla="*/ 71 w 5090"/>
                <a:gd name="T9" fmla="*/ 16608 h 18106"/>
                <a:gd name="T10" fmla="*/ 20 w 5090"/>
                <a:gd name="T11" fmla="*/ 16397 h 18106"/>
                <a:gd name="T12" fmla="*/ 136 w 5090"/>
                <a:gd name="T13" fmla="*/ 14704 h 18106"/>
                <a:gd name="T14" fmla="*/ 397 w 5090"/>
                <a:gd name="T15" fmla="*/ 13111 h 18106"/>
                <a:gd name="T16" fmla="*/ 447 w 5090"/>
                <a:gd name="T17" fmla="*/ 11243 h 18106"/>
                <a:gd name="T18" fmla="*/ 277 w 5090"/>
                <a:gd name="T19" fmla="*/ 9274 h 18106"/>
                <a:gd name="T20" fmla="*/ 91 w 5090"/>
                <a:gd name="T21" fmla="*/ 8164 h 18106"/>
                <a:gd name="T22" fmla="*/ 0 w 5090"/>
                <a:gd name="T23" fmla="*/ 6983 h 18106"/>
                <a:gd name="T24" fmla="*/ 61 w 5090"/>
                <a:gd name="T25" fmla="*/ 5813 h 18106"/>
                <a:gd name="T26" fmla="*/ 216 w 5090"/>
                <a:gd name="T27" fmla="*/ 5004 h 18106"/>
                <a:gd name="T28" fmla="*/ 478 w 5090"/>
                <a:gd name="T29" fmla="*/ 4476 h 18106"/>
                <a:gd name="T30" fmla="*/ 830 w 5090"/>
                <a:gd name="T31" fmla="*/ 3994 h 18106"/>
                <a:gd name="T32" fmla="*/ 1277 w 5090"/>
                <a:gd name="T33" fmla="*/ 3547 h 18106"/>
                <a:gd name="T34" fmla="*/ 1252 w 5090"/>
                <a:gd name="T35" fmla="*/ 3276 h 18106"/>
                <a:gd name="T36" fmla="*/ 1106 w 5090"/>
                <a:gd name="T37" fmla="*/ 3125 h 18106"/>
                <a:gd name="T38" fmla="*/ 1065 w 5090"/>
                <a:gd name="T39" fmla="*/ 2311 h 18106"/>
                <a:gd name="T40" fmla="*/ 1126 w 5090"/>
                <a:gd name="T41" fmla="*/ 1793 h 18106"/>
                <a:gd name="T42" fmla="*/ 1201 w 5090"/>
                <a:gd name="T43" fmla="*/ 1618 h 18106"/>
                <a:gd name="T44" fmla="*/ 1537 w 5090"/>
                <a:gd name="T45" fmla="*/ 1597 h 18106"/>
                <a:gd name="T46" fmla="*/ 1573 w 5090"/>
                <a:gd name="T47" fmla="*/ 1351 h 18106"/>
                <a:gd name="T48" fmla="*/ 1668 w 5090"/>
                <a:gd name="T49" fmla="*/ 1161 h 18106"/>
                <a:gd name="T50" fmla="*/ 1764 w 5090"/>
                <a:gd name="T51" fmla="*/ 935 h 18106"/>
                <a:gd name="T52" fmla="*/ 1738 w 5090"/>
                <a:gd name="T53" fmla="*/ 327 h 18106"/>
                <a:gd name="T54" fmla="*/ 1779 w 5090"/>
                <a:gd name="T55" fmla="*/ 46 h 18106"/>
                <a:gd name="T56" fmla="*/ 2543 w 5090"/>
                <a:gd name="T57" fmla="*/ 0 h 18106"/>
                <a:gd name="T58" fmla="*/ 3286 w 5090"/>
                <a:gd name="T59" fmla="*/ 20 h 18106"/>
                <a:gd name="T60" fmla="*/ 3336 w 5090"/>
                <a:gd name="T61" fmla="*/ 201 h 18106"/>
                <a:gd name="T62" fmla="*/ 3341 w 5090"/>
                <a:gd name="T63" fmla="*/ 814 h 18106"/>
                <a:gd name="T64" fmla="*/ 3387 w 5090"/>
                <a:gd name="T65" fmla="*/ 1125 h 18106"/>
                <a:gd name="T66" fmla="*/ 3507 w 5090"/>
                <a:gd name="T67" fmla="*/ 1312 h 18106"/>
                <a:gd name="T68" fmla="*/ 3532 w 5090"/>
                <a:gd name="T69" fmla="*/ 1588 h 18106"/>
                <a:gd name="T70" fmla="*/ 3869 w 5090"/>
                <a:gd name="T71" fmla="*/ 1608 h 18106"/>
                <a:gd name="T72" fmla="*/ 3939 w 5090"/>
                <a:gd name="T73" fmla="*/ 1723 h 18106"/>
                <a:gd name="T74" fmla="*/ 4010 w 5090"/>
                <a:gd name="T75" fmla="*/ 2125 h 18106"/>
                <a:gd name="T76" fmla="*/ 3979 w 5090"/>
                <a:gd name="T77" fmla="*/ 3125 h 18106"/>
                <a:gd name="T78" fmla="*/ 3859 w 5090"/>
                <a:gd name="T79" fmla="*/ 3240 h 18106"/>
                <a:gd name="T80" fmla="*/ 3814 w 5090"/>
                <a:gd name="T81" fmla="*/ 3547 h 18106"/>
                <a:gd name="T82" fmla="*/ 4175 w 5090"/>
                <a:gd name="T83" fmla="*/ 3903 h 18106"/>
                <a:gd name="T84" fmla="*/ 4547 w 5090"/>
                <a:gd name="T85" fmla="*/ 4376 h 18106"/>
                <a:gd name="T86" fmla="*/ 4828 w 5090"/>
                <a:gd name="T87" fmla="*/ 4893 h 18106"/>
                <a:gd name="T88" fmla="*/ 4994 w 5090"/>
                <a:gd name="T89" fmla="*/ 5577 h 18106"/>
                <a:gd name="T90" fmla="*/ 5089 w 5090"/>
                <a:gd name="T91" fmla="*/ 6752 h 18106"/>
                <a:gd name="T92" fmla="*/ 5029 w 5090"/>
                <a:gd name="T93" fmla="*/ 7928 h 18106"/>
                <a:gd name="T94" fmla="*/ 4868 w 5090"/>
                <a:gd name="T95" fmla="*/ 8872 h 18106"/>
                <a:gd name="T96" fmla="*/ 4658 w 5090"/>
                <a:gd name="T97" fmla="*/ 10855 h 18106"/>
                <a:gd name="T98" fmla="*/ 4662 w 5090"/>
                <a:gd name="T99" fmla="*/ 12745 h 18106"/>
                <a:gd name="T100" fmla="*/ 4913 w 5090"/>
                <a:gd name="T101" fmla="*/ 14533 h 18106"/>
                <a:gd name="T102" fmla="*/ 5064 w 5090"/>
                <a:gd name="T103" fmla="*/ 16397 h 18106"/>
                <a:gd name="T104" fmla="*/ 5014 w 5090"/>
                <a:gd name="T105" fmla="*/ 16563 h 18106"/>
                <a:gd name="T106" fmla="*/ 5069 w 5090"/>
                <a:gd name="T107" fmla="*/ 16734 h 18106"/>
                <a:gd name="T108" fmla="*/ 5004 w 5090"/>
                <a:gd name="T109" fmla="*/ 17673 h 18106"/>
                <a:gd name="T110" fmla="*/ 4788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3" y="18105"/>
                  </a:moveTo>
                  <a:lnTo>
                    <a:pt x="855" y="18105"/>
                  </a:lnTo>
                  <a:lnTo>
                    <a:pt x="855" y="18105"/>
                  </a:lnTo>
                  <a:lnTo>
                    <a:pt x="774" y="18095"/>
                  </a:lnTo>
                  <a:lnTo>
                    <a:pt x="693" y="18085"/>
                  </a:lnTo>
                  <a:lnTo>
                    <a:pt x="623" y="18070"/>
                  </a:lnTo>
                  <a:lnTo>
                    <a:pt x="548" y="18050"/>
                  </a:lnTo>
                  <a:lnTo>
                    <a:pt x="483" y="18025"/>
                  </a:lnTo>
                  <a:lnTo>
                    <a:pt x="417" y="18000"/>
                  </a:lnTo>
                  <a:lnTo>
                    <a:pt x="357" y="17965"/>
                  </a:lnTo>
                  <a:lnTo>
                    <a:pt x="302" y="17929"/>
                  </a:lnTo>
                  <a:lnTo>
                    <a:pt x="246" y="17889"/>
                  </a:lnTo>
                  <a:lnTo>
                    <a:pt x="201" y="17844"/>
                  </a:lnTo>
                  <a:lnTo>
                    <a:pt x="156" y="17794"/>
                  </a:lnTo>
                  <a:lnTo>
                    <a:pt x="116" y="17739"/>
                  </a:lnTo>
                  <a:lnTo>
                    <a:pt x="86" y="17673"/>
                  </a:lnTo>
                  <a:lnTo>
                    <a:pt x="56" y="17608"/>
                  </a:lnTo>
                  <a:lnTo>
                    <a:pt x="36" y="17532"/>
                  </a:lnTo>
                  <a:lnTo>
                    <a:pt x="20" y="17452"/>
                  </a:lnTo>
                  <a:lnTo>
                    <a:pt x="20" y="16734"/>
                  </a:lnTo>
                  <a:lnTo>
                    <a:pt x="20" y="16729"/>
                  </a:lnTo>
                  <a:lnTo>
                    <a:pt x="20" y="16729"/>
                  </a:lnTo>
                  <a:lnTo>
                    <a:pt x="46" y="16688"/>
                  </a:lnTo>
                  <a:lnTo>
                    <a:pt x="61" y="16649"/>
                  </a:lnTo>
                  <a:lnTo>
                    <a:pt x="71" y="16608"/>
                  </a:lnTo>
                  <a:lnTo>
                    <a:pt x="71" y="16563"/>
                  </a:lnTo>
                  <a:lnTo>
                    <a:pt x="71" y="16523"/>
                  </a:lnTo>
                  <a:lnTo>
                    <a:pt x="61" y="16478"/>
                  </a:lnTo>
                  <a:lnTo>
                    <a:pt x="46" y="16437"/>
                  </a:lnTo>
                  <a:lnTo>
                    <a:pt x="20" y="16397"/>
                  </a:lnTo>
                  <a:lnTo>
                    <a:pt x="20" y="16397"/>
                  </a:lnTo>
                  <a:lnTo>
                    <a:pt x="20" y="15508"/>
                  </a:lnTo>
                  <a:lnTo>
                    <a:pt x="91" y="14875"/>
                  </a:lnTo>
                  <a:lnTo>
                    <a:pt x="91" y="14875"/>
                  </a:lnTo>
                  <a:lnTo>
                    <a:pt x="136" y="14704"/>
                  </a:lnTo>
                  <a:lnTo>
                    <a:pt x="176" y="14533"/>
                  </a:lnTo>
                  <a:lnTo>
                    <a:pt x="246" y="14181"/>
                  </a:lnTo>
                  <a:lnTo>
                    <a:pt x="307" y="13830"/>
                  </a:lnTo>
                  <a:lnTo>
                    <a:pt x="357" y="13474"/>
                  </a:lnTo>
                  <a:lnTo>
                    <a:pt x="397" y="13111"/>
                  </a:lnTo>
                  <a:lnTo>
                    <a:pt x="428" y="12745"/>
                  </a:lnTo>
                  <a:lnTo>
                    <a:pt x="447" y="12378"/>
                  </a:lnTo>
                  <a:lnTo>
                    <a:pt x="458" y="12001"/>
                  </a:lnTo>
                  <a:lnTo>
                    <a:pt x="458" y="11624"/>
                  </a:lnTo>
                  <a:lnTo>
                    <a:pt x="447" y="11243"/>
                  </a:lnTo>
                  <a:lnTo>
                    <a:pt x="433" y="10855"/>
                  </a:lnTo>
                  <a:lnTo>
                    <a:pt x="402" y="10464"/>
                  </a:lnTo>
                  <a:lnTo>
                    <a:pt x="372" y="10072"/>
                  </a:lnTo>
                  <a:lnTo>
                    <a:pt x="327" y="9676"/>
                  </a:lnTo>
                  <a:lnTo>
                    <a:pt x="277" y="9274"/>
                  </a:lnTo>
                  <a:lnTo>
                    <a:pt x="221" y="8872"/>
                  </a:lnTo>
                  <a:lnTo>
                    <a:pt x="221" y="8872"/>
                  </a:lnTo>
                  <a:lnTo>
                    <a:pt x="171" y="8636"/>
                  </a:lnTo>
                  <a:lnTo>
                    <a:pt x="126" y="8400"/>
                  </a:lnTo>
                  <a:lnTo>
                    <a:pt x="91" y="8164"/>
                  </a:lnTo>
                  <a:lnTo>
                    <a:pt x="61" y="7928"/>
                  </a:lnTo>
                  <a:lnTo>
                    <a:pt x="36" y="7692"/>
                  </a:lnTo>
                  <a:lnTo>
                    <a:pt x="16" y="7455"/>
                  </a:lnTo>
                  <a:lnTo>
                    <a:pt x="6" y="7220"/>
                  </a:lnTo>
                  <a:lnTo>
                    <a:pt x="0" y="6983"/>
                  </a:lnTo>
                  <a:lnTo>
                    <a:pt x="0" y="6752"/>
                  </a:lnTo>
                  <a:lnTo>
                    <a:pt x="6" y="6516"/>
                  </a:lnTo>
                  <a:lnTo>
                    <a:pt x="16" y="6280"/>
                  </a:lnTo>
                  <a:lnTo>
                    <a:pt x="36" y="6049"/>
                  </a:lnTo>
                  <a:lnTo>
                    <a:pt x="61" y="5813"/>
                  </a:lnTo>
                  <a:lnTo>
                    <a:pt x="96" y="5577"/>
                  </a:lnTo>
                  <a:lnTo>
                    <a:pt x="131" y="5345"/>
                  </a:lnTo>
                  <a:lnTo>
                    <a:pt x="176" y="5110"/>
                  </a:lnTo>
                  <a:lnTo>
                    <a:pt x="176" y="5110"/>
                  </a:lnTo>
                  <a:lnTo>
                    <a:pt x="216" y="5004"/>
                  </a:lnTo>
                  <a:lnTo>
                    <a:pt x="262" y="4893"/>
                  </a:lnTo>
                  <a:lnTo>
                    <a:pt x="307" y="4788"/>
                  </a:lnTo>
                  <a:lnTo>
                    <a:pt x="362" y="4682"/>
                  </a:lnTo>
                  <a:lnTo>
                    <a:pt x="417" y="4577"/>
                  </a:lnTo>
                  <a:lnTo>
                    <a:pt x="478" y="4476"/>
                  </a:lnTo>
                  <a:lnTo>
                    <a:pt x="538" y="4376"/>
                  </a:lnTo>
                  <a:lnTo>
                    <a:pt x="609" y="4280"/>
                  </a:lnTo>
                  <a:lnTo>
                    <a:pt x="679" y="4185"/>
                  </a:lnTo>
                  <a:lnTo>
                    <a:pt x="754" y="4090"/>
                  </a:lnTo>
                  <a:lnTo>
                    <a:pt x="830" y="3994"/>
                  </a:lnTo>
                  <a:lnTo>
                    <a:pt x="915" y="3903"/>
                  </a:lnTo>
                  <a:lnTo>
                    <a:pt x="1000" y="3813"/>
                  </a:lnTo>
                  <a:lnTo>
                    <a:pt x="1090" y="3723"/>
                  </a:lnTo>
                  <a:lnTo>
                    <a:pt x="1181" y="3632"/>
                  </a:lnTo>
                  <a:lnTo>
                    <a:pt x="1277" y="3547"/>
                  </a:lnTo>
                  <a:lnTo>
                    <a:pt x="1277" y="3401"/>
                  </a:lnTo>
                  <a:lnTo>
                    <a:pt x="1277" y="3401"/>
                  </a:lnTo>
                  <a:lnTo>
                    <a:pt x="1271" y="3356"/>
                  </a:lnTo>
                  <a:lnTo>
                    <a:pt x="1266" y="3316"/>
                  </a:lnTo>
                  <a:lnTo>
                    <a:pt x="1252" y="3276"/>
                  </a:lnTo>
                  <a:lnTo>
                    <a:pt x="1231" y="3240"/>
                  </a:lnTo>
                  <a:lnTo>
                    <a:pt x="1206" y="3205"/>
                  </a:lnTo>
                  <a:lnTo>
                    <a:pt x="1176" y="3175"/>
                  </a:lnTo>
                  <a:lnTo>
                    <a:pt x="1146" y="3145"/>
                  </a:lnTo>
                  <a:lnTo>
                    <a:pt x="1106" y="3125"/>
                  </a:lnTo>
                  <a:lnTo>
                    <a:pt x="1106" y="3125"/>
                  </a:lnTo>
                  <a:lnTo>
                    <a:pt x="1086" y="2914"/>
                  </a:lnTo>
                  <a:lnTo>
                    <a:pt x="1076" y="2708"/>
                  </a:lnTo>
                  <a:lnTo>
                    <a:pt x="1065" y="2502"/>
                  </a:lnTo>
                  <a:lnTo>
                    <a:pt x="1065" y="2311"/>
                  </a:lnTo>
                  <a:lnTo>
                    <a:pt x="1076" y="2125"/>
                  </a:lnTo>
                  <a:lnTo>
                    <a:pt x="1086" y="2040"/>
                  </a:lnTo>
                  <a:lnTo>
                    <a:pt x="1096" y="1955"/>
                  </a:lnTo>
                  <a:lnTo>
                    <a:pt x="1111" y="1874"/>
                  </a:lnTo>
                  <a:lnTo>
                    <a:pt x="1126" y="1793"/>
                  </a:lnTo>
                  <a:lnTo>
                    <a:pt x="1146" y="1723"/>
                  </a:lnTo>
                  <a:lnTo>
                    <a:pt x="1171" y="1653"/>
                  </a:lnTo>
                  <a:lnTo>
                    <a:pt x="1171" y="1653"/>
                  </a:lnTo>
                  <a:lnTo>
                    <a:pt x="1181" y="1633"/>
                  </a:lnTo>
                  <a:lnTo>
                    <a:pt x="1201" y="1618"/>
                  </a:lnTo>
                  <a:lnTo>
                    <a:pt x="1221" y="1608"/>
                  </a:lnTo>
                  <a:lnTo>
                    <a:pt x="1241" y="1603"/>
                  </a:lnTo>
                  <a:lnTo>
                    <a:pt x="1512" y="1603"/>
                  </a:lnTo>
                  <a:lnTo>
                    <a:pt x="1512" y="1603"/>
                  </a:lnTo>
                  <a:lnTo>
                    <a:pt x="1537" y="1597"/>
                  </a:lnTo>
                  <a:lnTo>
                    <a:pt x="1553" y="1588"/>
                  </a:lnTo>
                  <a:lnTo>
                    <a:pt x="1568" y="1567"/>
                  </a:lnTo>
                  <a:lnTo>
                    <a:pt x="1573" y="1542"/>
                  </a:lnTo>
                  <a:lnTo>
                    <a:pt x="1573" y="1351"/>
                  </a:lnTo>
                  <a:lnTo>
                    <a:pt x="1573" y="1351"/>
                  </a:lnTo>
                  <a:lnTo>
                    <a:pt x="1578" y="1312"/>
                  </a:lnTo>
                  <a:lnTo>
                    <a:pt x="1593" y="1271"/>
                  </a:lnTo>
                  <a:lnTo>
                    <a:pt x="1613" y="1236"/>
                  </a:lnTo>
                  <a:lnTo>
                    <a:pt x="1638" y="1196"/>
                  </a:lnTo>
                  <a:lnTo>
                    <a:pt x="1668" y="1161"/>
                  </a:lnTo>
                  <a:lnTo>
                    <a:pt x="1704" y="1125"/>
                  </a:lnTo>
                  <a:lnTo>
                    <a:pt x="1738" y="1090"/>
                  </a:lnTo>
                  <a:lnTo>
                    <a:pt x="1784" y="1055"/>
                  </a:lnTo>
                  <a:lnTo>
                    <a:pt x="1784" y="1055"/>
                  </a:lnTo>
                  <a:lnTo>
                    <a:pt x="1764" y="935"/>
                  </a:lnTo>
                  <a:lnTo>
                    <a:pt x="1744" y="814"/>
                  </a:lnTo>
                  <a:lnTo>
                    <a:pt x="1734" y="694"/>
                  </a:lnTo>
                  <a:lnTo>
                    <a:pt x="1729" y="568"/>
                  </a:lnTo>
                  <a:lnTo>
                    <a:pt x="1734" y="447"/>
                  </a:lnTo>
                  <a:lnTo>
                    <a:pt x="1738" y="327"/>
                  </a:lnTo>
                  <a:lnTo>
                    <a:pt x="1749" y="201"/>
                  </a:lnTo>
                  <a:lnTo>
                    <a:pt x="1769" y="80"/>
                  </a:lnTo>
                  <a:lnTo>
                    <a:pt x="1769" y="80"/>
                  </a:lnTo>
                  <a:lnTo>
                    <a:pt x="1774" y="60"/>
                  </a:lnTo>
                  <a:lnTo>
                    <a:pt x="1779" y="46"/>
                  </a:lnTo>
                  <a:lnTo>
                    <a:pt x="1804" y="20"/>
                  </a:lnTo>
                  <a:lnTo>
                    <a:pt x="1829" y="5"/>
                  </a:lnTo>
                  <a:lnTo>
                    <a:pt x="1849" y="0"/>
                  </a:lnTo>
                  <a:lnTo>
                    <a:pt x="1864" y="0"/>
                  </a:lnTo>
                  <a:lnTo>
                    <a:pt x="2543" y="0"/>
                  </a:lnTo>
                  <a:lnTo>
                    <a:pt x="3221" y="0"/>
                  </a:lnTo>
                  <a:lnTo>
                    <a:pt x="3221" y="0"/>
                  </a:lnTo>
                  <a:lnTo>
                    <a:pt x="3241" y="0"/>
                  </a:lnTo>
                  <a:lnTo>
                    <a:pt x="3256" y="5"/>
                  </a:lnTo>
                  <a:lnTo>
                    <a:pt x="3286" y="20"/>
                  </a:lnTo>
                  <a:lnTo>
                    <a:pt x="3306" y="46"/>
                  </a:lnTo>
                  <a:lnTo>
                    <a:pt x="3316" y="60"/>
                  </a:lnTo>
                  <a:lnTo>
                    <a:pt x="3321" y="80"/>
                  </a:lnTo>
                  <a:lnTo>
                    <a:pt x="3321" y="80"/>
                  </a:lnTo>
                  <a:lnTo>
                    <a:pt x="3336" y="201"/>
                  </a:lnTo>
                  <a:lnTo>
                    <a:pt x="3351" y="327"/>
                  </a:lnTo>
                  <a:lnTo>
                    <a:pt x="3356" y="447"/>
                  </a:lnTo>
                  <a:lnTo>
                    <a:pt x="3356" y="568"/>
                  </a:lnTo>
                  <a:lnTo>
                    <a:pt x="3351" y="694"/>
                  </a:lnTo>
                  <a:lnTo>
                    <a:pt x="3341" y="814"/>
                  </a:lnTo>
                  <a:lnTo>
                    <a:pt x="3326" y="935"/>
                  </a:lnTo>
                  <a:lnTo>
                    <a:pt x="3306" y="1055"/>
                  </a:lnTo>
                  <a:lnTo>
                    <a:pt x="3306" y="1055"/>
                  </a:lnTo>
                  <a:lnTo>
                    <a:pt x="3346" y="1090"/>
                  </a:lnTo>
                  <a:lnTo>
                    <a:pt x="3387" y="1125"/>
                  </a:lnTo>
                  <a:lnTo>
                    <a:pt x="3421" y="1161"/>
                  </a:lnTo>
                  <a:lnTo>
                    <a:pt x="3452" y="1196"/>
                  </a:lnTo>
                  <a:lnTo>
                    <a:pt x="3477" y="1236"/>
                  </a:lnTo>
                  <a:lnTo>
                    <a:pt x="3497" y="1271"/>
                  </a:lnTo>
                  <a:lnTo>
                    <a:pt x="3507" y="1312"/>
                  </a:lnTo>
                  <a:lnTo>
                    <a:pt x="3517" y="1351"/>
                  </a:lnTo>
                  <a:lnTo>
                    <a:pt x="3517" y="1542"/>
                  </a:lnTo>
                  <a:lnTo>
                    <a:pt x="3517" y="1542"/>
                  </a:lnTo>
                  <a:lnTo>
                    <a:pt x="3522" y="1567"/>
                  </a:lnTo>
                  <a:lnTo>
                    <a:pt x="3532" y="1588"/>
                  </a:lnTo>
                  <a:lnTo>
                    <a:pt x="3552" y="1597"/>
                  </a:lnTo>
                  <a:lnTo>
                    <a:pt x="3577" y="1603"/>
                  </a:lnTo>
                  <a:lnTo>
                    <a:pt x="3843" y="1603"/>
                  </a:lnTo>
                  <a:lnTo>
                    <a:pt x="3843" y="1603"/>
                  </a:lnTo>
                  <a:lnTo>
                    <a:pt x="3869" y="1608"/>
                  </a:lnTo>
                  <a:lnTo>
                    <a:pt x="3889" y="1618"/>
                  </a:lnTo>
                  <a:lnTo>
                    <a:pt x="3904" y="1633"/>
                  </a:lnTo>
                  <a:lnTo>
                    <a:pt x="3919" y="1653"/>
                  </a:lnTo>
                  <a:lnTo>
                    <a:pt x="3919" y="1653"/>
                  </a:lnTo>
                  <a:lnTo>
                    <a:pt x="3939" y="1723"/>
                  </a:lnTo>
                  <a:lnTo>
                    <a:pt x="3959" y="1793"/>
                  </a:lnTo>
                  <a:lnTo>
                    <a:pt x="3979" y="1874"/>
                  </a:lnTo>
                  <a:lnTo>
                    <a:pt x="3989" y="1955"/>
                  </a:lnTo>
                  <a:lnTo>
                    <a:pt x="4004" y="2040"/>
                  </a:lnTo>
                  <a:lnTo>
                    <a:pt x="4010" y="2125"/>
                  </a:lnTo>
                  <a:lnTo>
                    <a:pt x="4019" y="2311"/>
                  </a:lnTo>
                  <a:lnTo>
                    <a:pt x="4019" y="2502"/>
                  </a:lnTo>
                  <a:lnTo>
                    <a:pt x="4014" y="2708"/>
                  </a:lnTo>
                  <a:lnTo>
                    <a:pt x="3999" y="2914"/>
                  </a:lnTo>
                  <a:lnTo>
                    <a:pt x="3979" y="3125"/>
                  </a:lnTo>
                  <a:lnTo>
                    <a:pt x="3979" y="3125"/>
                  </a:lnTo>
                  <a:lnTo>
                    <a:pt x="3944" y="3145"/>
                  </a:lnTo>
                  <a:lnTo>
                    <a:pt x="3909" y="3175"/>
                  </a:lnTo>
                  <a:lnTo>
                    <a:pt x="3884" y="3205"/>
                  </a:lnTo>
                  <a:lnTo>
                    <a:pt x="3859" y="3240"/>
                  </a:lnTo>
                  <a:lnTo>
                    <a:pt x="3839" y="3276"/>
                  </a:lnTo>
                  <a:lnTo>
                    <a:pt x="3823" y="3316"/>
                  </a:lnTo>
                  <a:lnTo>
                    <a:pt x="3814" y="3356"/>
                  </a:lnTo>
                  <a:lnTo>
                    <a:pt x="3814" y="3401"/>
                  </a:lnTo>
                  <a:lnTo>
                    <a:pt x="3814" y="3547"/>
                  </a:lnTo>
                  <a:lnTo>
                    <a:pt x="3814" y="3547"/>
                  </a:lnTo>
                  <a:lnTo>
                    <a:pt x="3909" y="3632"/>
                  </a:lnTo>
                  <a:lnTo>
                    <a:pt x="3999" y="3723"/>
                  </a:lnTo>
                  <a:lnTo>
                    <a:pt x="4090" y="3813"/>
                  </a:lnTo>
                  <a:lnTo>
                    <a:pt x="4175" y="3903"/>
                  </a:lnTo>
                  <a:lnTo>
                    <a:pt x="4256" y="3994"/>
                  </a:lnTo>
                  <a:lnTo>
                    <a:pt x="4336" y="4090"/>
                  </a:lnTo>
                  <a:lnTo>
                    <a:pt x="4411" y="4185"/>
                  </a:lnTo>
                  <a:lnTo>
                    <a:pt x="4482" y="4280"/>
                  </a:lnTo>
                  <a:lnTo>
                    <a:pt x="4547" y="4376"/>
                  </a:lnTo>
                  <a:lnTo>
                    <a:pt x="4612" y="4476"/>
                  </a:lnTo>
                  <a:lnTo>
                    <a:pt x="4673" y="4577"/>
                  </a:lnTo>
                  <a:lnTo>
                    <a:pt x="4728" y="4682"/>
                  </a:lnTo>
                  <a:lnTo>
                    <a:pt x="4778" y="4788"/>
                  </a:lnTo>
                  <a:lnTo>
                    <a:pt x="4828" y="4893"/>
                  </a:lnTo>
                  <a:lnTo>
                    <a:pt x="4874" y="5004"/>
                  </a:lnTo>
                  <a:lnTo>
                    <a:pt x="4909" y="5110"/>
                  </a:lnTo>
                  <a:lnTo>
                    <a:pt x="4909" y="5110"/>
                  </a:lnTo>
                  <a:lnTo>
                    <a:pt x="4954" y="5345"/>
                  </a:lnTo>
                  <a:lnTo>
                    <a:pt x="4994" y="5577"/>
                  </a:lnTo>
                  <a:lnTo>
                    <a:pt x="5024" y="5813"/>
                  </a:lnTo>
                  <a:lnTo>
                    <a:pt x="5050" y="6049"/>
                  </a:lnTo>
                  <a:lnTo>
                    <a:pt x="5069" y="6280"/>
                  </a:lnTo>
                  <a:lnTo>
                    <a:pt x="5084" y="6516"/>
                  </a:lnTo>
                  <a:lnTo>
                    <a:pt x="5089" y="6752"/>
                  </a:lnTo>
                  <a:lnTo>
                    <a:pt x="5089" y="6983"/>
                  </a:lnTo>
                  <a:lnTo>
                    <a:pt x="5084" y="7220"/>
                  </a:lnTo>
                  <a:lnTo>
                    <a:pt x="5075" y="7455"/>
                  </a:lnTo>
                  <a:lnTo>
                    <a:pt x="5054" y="7692"/>
                  </a:lnTo>
                  <a:lnTo>
                    <a:pt x="5029" y="7928"/>
                  </a:lnTo>
                  <a:lnTo>
                    <a:pt x="4999" y="8164"/>
                  </a:lnTo>
                  <a:lnTo>
                    <a:pt x="4959" y="8400"/>
                  </a:lnTo>
                  <a:lnTo>
                    <a:pt x="4919" y="8636"/>
                  </a:lnTo>
                  <a:lnTo>
                    <a:pt x="4868" y="8872"/>
                  </a:lnTo>
                  <a:lnTo>
                    <a:pt x="4868" y="8872"/>
                  </a:lnTo>
                  <a:lnTo>
                    <a:pt x="4813" y="9274"/>
                  </a:lnTo>
                  <a:lnTo>
                    <a:pt x="4763" y="9676"/>
                  </a:lnTo>
                  <a:lnTo>
                    <a:pt x="4718" y="10072"/>
                  </a:lnTo>
                  <a:lnTo>
                    <a:pt x="4683" y="10464"/>
                  </a:lnTo>
                  <a:lnTo>
                    <a:pt x="4658" y="10855"/>
                  </a:lnTo>
                  <a:lnTo>
                    <a:pt x="4637" y="11243"/>
                  </a:lnTo>
                  <a:lnTo>
                    <a:pt x="4632" y="11624"/>
                  </a:lnTo>
                  <a:lnTo>
                    <a:pt x="4632" y="12001"/>
                  </a:lnTo>
                  <a:lnTo>
                    <a:pt x="4642" y="12378"/>
                  </a:lnTo>
                  <a:lnTo>
                    <a:pt x="4662" y="12745"/>
                  </a:lnTo>
                  <a:lnTo>
                    <a:pt x="4687" y="13111"/>
                  </a:lnTo>
                  <a:lnTo>
                    <a:pt x="4728" y="13474"/>
                  </a:lnTo>
                  <a:lnTo>
                    <a:pt x="4778" y="13830"/>
                  </a:lnTo>
                  <a:lnTo>
                    <a:pt x="4838" y="14181"/>
                  </a:lnTo>
                  <a:lnTo>
                    <a:pt x="4913" y="14533"/>
                  </a:lnTo>
                  <a:lnTo>
                    <a:pt x="4954" y="14704"/>
                  </a:lnTo>
                  <a:lnTo>
                    <a:pt x="4994" y="14875"/>
                  </a:lnTo>
                  <a:lnTo>
                    <a:pt x="5069" y="15508"/>
                  </a:lnTo>
                  <a:lnTo>
                    <a:pt x="5069" y="16397"/>
                  </a:lnTo>
                  <a:lnTo>
                    <a:pt x="5064" y="16397"/>
                  </a:lnTo>
                  <a:lnTo>
                    <a:pt x="5064" y="16397"/>
                  </a:lnTo>
                  <a:lnTo>
                    <a:pt x="5044" y="16437"/>
                  </a:lnTo>
                  <a:lnTo>
                    <a:pt x="5029" y="16478"/>
                  </a:lnTo>
                  <a:lnTo>
                    <a:pt x="5019" y="16523"/>
                  </a:lnTo>
                  <a:lnTo>
                    <a:pt x="5014" y="16563"/>
                  </a:lnTo>
                  <a:lnTo>
                    <a:pt x="5019" y="16608"/>
                  </a:lnTo>
                  <a:lnTo>
                    <a:pt x="5029" y="16649"/>
                  </a:lnTo>
                  <a:lnTo>
                    <a:pt x="5044" y="16688"/>
                  </a:lnTo>
                  <a:lnTo>
                    <a:pt x="5064" y="16729"/>
                  </a:lnTo>
                  <a:lnTo>
                    <a:pt x="5069" y="16734"/>
                  </a:lnTo>
                  <a:lnTo>
                    <a:pt x="5069" y="17452"/>
                  </a:lnTo>
                  <a:lnTo>
                    <a:pt x="5069" y="17452"/>
                  </a:lnTo>
                  <a:lnTo>
                    <a:pt x="5054" y="17532"/>
                  </a:lnTo>
                  <a:lnTo>
                    <a:pt x="5029" y="17608"/>
                  </a:lnTo>
                  <a:lnTo>
                    <a:pt x="5004" y="17673"/>
                  </a:lnTo>
                  <a:lnTo>
                    <a:pt x="4969" y="17739"/>
                  </a:lnTo>
                  <a:lnTo>
                    <a:pt x="4934" y="17794"/>
                  </a:lnTo>
                  <a:lnTo>
                    <a:pt x="4888" y="17844"/>
                  </a:lnTo>
                  <a:lnTo>
                    <a:pt x="4843" y="17889"/>
                  </a:lnTo>
                  <a:lnTo>
                    <a:pt x="4788" y="17929"/>
                  </a:lnTo>
                  <a:lnTo>
                    <a:pt x="4733" y="17965"/>
                  </a:lnTo>
                  <a:lnTo>
                    <a:pt x="4673" y="18000"/>
                  </a:lnTo>
                  <a:lnTo>
                    <a:pt x="4607" y="18025"/>
                  </a:lnTo>
                  <a:lnTo>
                    <a:pt x="4537" y="18050"/>
                  </a:lnTo>
                  <a:lnTo>
                    <a:pt x="4466" y="18070"/>
                  </a:lnTo>
                  <a:lnTo>
                    <a:pt x="4391" y="18085"/>
                  </a:lnTo>
                  <a:lnTo>
                    <a:pt x="4316" y="18095"/>
                  </a:lnTo>
                  <a:lnTo>
                    <a:pt x="4236" y="18105"/>
                  </a:lnTo>
                  <a:lnTo>
                    <a:pt x="2543" y="18105"/>
                  </a:lnTo>
                </a:path>
              </a:pathLst>
            </a:custGeom>
            <a:noFill/>
            <a:ln w="12700">
              <a:solidFill>
                <a:schemeClr val="bg1">
                  <a:alpha val="30000"/>
                </a:schemeClr>
              </a:solidFill>
            </a:ln>
            <a:effectLst/>
          </p:spPr>
          <p:txBody>
            <a:bodyPr wrap="none" anchor="ctr"/>
            <a:lstStyle/>
            <a:p>
              <a:endParaRPr lang="en-US" sz="1709"/>
            </a:p>
          </p:txBody>
        </p:sp>
        <p:sp>
          <p:nvSpPr>
            <p:cNvPr id="13" name="Freeform 12">
              <a:extLst>
                <a:ext uri="{FF2B5EF4-FFF2-40B4-BE49-F238E27FC236}">
                  <a16:creationId xmlns:a16="http://schemas.microsoft.com/office/drawing/2014/main" id="{2FA31B68-7DCE-0C4E-8B34-96D1EADE7536}"/>
                </a:ext>
              </a:extLst>
            </p:cNvPr>
            <p:cNvSpPr>
              <a:spLocks noChangeArrowheads="1"/>
            </p:cNvSpPr>
            <p:nvPr/>
          </p:nvSpPr>
          <p:spPr bwMode="auto">
            <a:xfrm>
              <a:off x="6505857" y="1249543"/>
              <a:ext cx="1285437" cy="4573662"/>
            </a:xfrm>
            <a:custGeom>
              <a:avLst/>
              <a:gdLst>
                <a:gd name="T0" fmla="*/ 698 w 5090"/>
                <a:gd name="T1" fmla="*/ 18085 h 18106"/>
                <a:gd name="T2" fmla="*/ 357 w 5090"/>
                <a:gd name="T3" fmla="*/ 17965 h 18106"/>
                <a:gd name="T4" fmla="*/ 120 w 5090"/>
                <a:gd name="T5" fmla="*/ 17739 h 18106"/>
                <a:gd name="T6" fmla="*/ 20 w 5090"/>
                <a:gd name="T7" fmla="*/ 16734 h 18106"/>
                <a:gd name="T8" fmla="*/ 70 w 5090"/>
                <a:gd name="T9" fmla="*/ 16608 h 18106"/>
                <a:gd name="T10" fmla="*/ 20 w 5090"/>
                <a:gd name="T11" fmla="*/ 16397 h 18106"/>
                <a:gd name="T12" fmla="*/ 136 w 5090"/>
                <a:gd name="T13" fmla="*/ 14704 h 18106"/>
                <a:gd name="T14" fmla="*/ 396 w 5090"/>
                <a:gd name="T15" fmla="*/ 13111 h 18106"/>
                <a:gd name="T16" fmla="*/ 447 w 5090"/>
                <a:gd name="T17" fmla="*/ 11243 h 18106"/>
                <a:gd name="T18" fmla="*/ 276 w 5090"/>
                <a:gd name="T19" fmla="*/ 9274 h 18106"/>
                <a:gd name="T20" fmla="*/ 90 w 5090"/>
                <a:gd name="T21" fmla="*/ 8164 h 18106"/>
                <a:gd name="T22" fmla="*/ 0 w 5090"/>
                <a:gd name="T23" fmla="*/ 6983 h 18106"/>
                <a:gd name="T24" fmla="*/ 60 w 5090"/>
                <a:gd name="T25" fmla="*/ 5813 h 18106"/>
                <a:gd name="T26" fmla="*/ 216 w 5090"/>
                <a:gd name="T27" fmla="*/ 5004 h 18106"/>
                <a:gd name="T28" fmla="*/ 477 w 5090"/>
                <a:gd name="T29" fmla="*/ 4476 h 18106"/>
                <a:gd name="T30" fmla="*/ 834 w 5090"/>
                <a:gd name="T31" fmla="*/ 3994 h 18106"/>
                <a:gd name="T32" fmla="*/ 1276 w 5090"/>
                <a:gd name="T33" fmla="*/ 3547 h 18106"/>
                <a:gd name="T34" fmla="*/ 1251 w 5090"/>
                <a:gd name="T35" fmla="*/ 3276 h 18106"/>
                <a:gd name="T36" fmla="*/ 1105 w 5090"/>
                <a:gd name="T37" fmla="*/ 3125 h 18106"/>
                <a:gd name="T38" fmla="*/ 1070 w 5090"/>
                <a:gd name="T39" fmla="*/ 2311 h 18106"/>
                <a:gd name="T40" fmla="*/ 1130 w 5090"/>
                <a:gd name="T41" fmla="*/ 1793 h 18106"/>
                <a:gd name="T42" fmla="*/ 1201 w 5090"/>
                <a:gd name="T43" fmla="*/ 1618 h 18106"/>
                <a:gd name="T44" fmla="*/ 1537 w 5090"/>
                <a:gd name="T45" fmla="*/ 1597 h 18106"/>
                <a:gd name="T46" fmla="*/ 1572 w 5090"/>
                <a:gd name="T47" fmla="*/ 1351 h 18106"/>
                <a:gd name="T48" fmla="*/ 1668 w 5090"/>
                <a:gd name="T49" fmla="*/ 1161 h 18106"/>
                <a:gd name="T50" fmla="*/ 1763 w 5090"/>
                <a:gd name="T51" fmla="*/ 935 h 18106"/>
                <a:gd name="T52" fmla="*/ 1738 w 5090"/>
                <a:gd name="T53" fmla="*/ 327 h 18106"/>
                <a:gd name="T54" fmla="*/ 1778 w 5090"/>
                <a:gd name="T55" fmla="*/ 46 h 18106"/>
                <a:gd name="T56" fmla="*/ 2542 w 5090"/>
                <a:gd name="T57" fmla="*/ 0 h 18106"/>
                <a:gd name="T58" fmla="*/ 3286 w 5090"/>
                <a:gd name="T59" fmla="*/ 20 h 18106"/>
                <a:gd name="T60" fmla="*/ 3336 w 5090"/>
                <a:gd name="T61" fmla="*/ 201 h 18106"/>
                <a:gd name="T62" fmla="*/ 3341 w 5090"/>
                <a:gd name="T63" fmla="*/ 814 h 18106"/>
                <a:gd name="T64" fmla="*/ 3386 w 5090"/>
                <a:gd name="T65" fmla="*/ 1125 h 18106"/>
                <a:gd name="T66" fmla="*/ 3512 w 5090"/>
                <a:gd name="T67" fmla="*/ 1312 h 18106"/>
                <a:gd name="T68" fmla="*/ 3532 w 5090"/>
                <a:gd name="T69" fmla="*/ 1588 h 18106"/>
                <a:gd name="T70" fmla="*/ 3868 w 5090"/>
                <a:gd name="T71" fmla="*/ 1608 h 18106"/>
                <a:gd name="T72" fmla="*/ 3938 w 5090"/>
                <a:gd name="T73" fmla="*/ 1723 h 18106"/>
                <a:gd name="T74" fmla="*/ 4009 w 5090"/>
                <a:gd name="T75" fmla="*/ 2125 h 18106"/>
                <a:gd name="T76" fmla="*/ 3979 w 5090"/>
                <a:gd name="T77" fmla="*/ 3125 h 18106"/>
                <a:gd name="T78" fmla="*/ 3858 w 5090"/>
                <a:gd name="T79" fmla="*/ 3240 h 18106"/>
                <a:gd name="T80" fmla="*/ 3813 w 5090"/>
                <a:gd name="T81" fmla="*/ 3547 h 18106"/>
                <a:gd name="T82" fmla="*/ 4175 w 5090"/>
                <a:gd name="T83" fmla="*/ 3903 h 18106"/>
                <a:gd name="T84" fmla="*/ 4552 w 5090"/>
                <a:gd name="T85" fmla="*/ 4376 h 18106"/>
                <a:gd name="T86" fmla="*/ 4828 w 5090"/>
                <a:gd name="T87" fmla="*/ 4893 h 18106"/>
                <a:gd name="T88" fmla="*/ 4993 w 5090"/>
                <a:gd name="T89" fmla="*/ 5577 h 18106"/>
                <a:gd name="T90" fmla="*/ 5089 w 5090"/>
                <a:gd name="T91" fmla="*/ 6752 h 18106"/>
                <a:gd name="T92" fmla="*/ 5029 w 5090"/>
                <a:gd name="T93" fmla="*/ 7928 h 18106"/>
                <a:gd name="T94" fmla="*/ 4868 w 5090"/>
                <a:gd name="T95" fmla="*/ 8872 h 18106"/>
                <a:gd name="T96" fmla="*/ 4657 w 5090"/>
                <a:gd name="T97" fmla="*/ 10855 h 18106"/>
                <a:gd name="T98" fmla="*/ 4662 w 5090"/>
                <a:gd name="T99" fmla="*/ 12745 h 18106"/>
                <a:gd name="T100" fmla="*/ 4913 w 5090"/>
                <a:gd name="T101" fmla="*/ 14533 h 18106"/>
                <a:gd name="T102" fmla="*/ 5069 w 5090"/>
                <a:gd name="T103" fmla="*/ 16397 h 18106"/>
                <a:gd name="T104" fmla="*/ 5013 w 5090"/>
                <a:gd name="T105" fmla="*/ 16563 h 18106"/>
                <a:gd name="T106" fmla="*/ 5069 w 5090"/>
                <a:gd name="T107" fmla="*/ 16734 h 18106"/>
                <a:gd name="T108" fmla="*/ 5004 w 5090"/>
                <a:gd name="T109" fmla="*/ 17673 h 18106"/>
                <a:gd name="T110" fmla="*/ 4787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2" y="18105"/>
                  </a:moveTo>
                  <a:lnTo>
                    <a:pt x="854" y="18105"/>
                  </a:lnTo>
                  <a:lnTo>
                    <a:pt x="854" y="18105"/>
                  </a:lnTo>
                  <a:lnTo>
                    <a:pt x="773" y="18095"/>
                  </a:lnTo>
                  <a:lnTo>
                    <a:pt x="698" y="18085"/>
                  </a:lnTo>
                  <a:lnTo>
                    <a:pt x="623" y="18070"/>
                  </a:lnTo>
                  <a:lnTo>
                    <a:pt x="547" y="18050"/>
                  </a:lnTo>
                  <a:lnTo>
                    <a:pt x="482" y="18025"/>
                  </a:lnTo>
                  <a:lnTo>
                    <a:pt x="417" y="18000"/>
                  </a:lnTo>
                  <a:lnTo>
                    <a:pt x="357" y="17965"/>
                  </a:lnTo>
                  <a:lnTo>
                    <a:pt x="301" y="17929"/>
                  </a:lnTo>
                  <a:lnTo>
                    <a:pt x="246" y="17889"/>
                  </a:lnTo>
                  <a:lnTo>
                    <a:pt x="201" y="17844"/>
                  </a:lnTo>
                  <a:lnTo>
                    <a:pt x="156" y="17794"/>
                  </a:lnTo>
                  <a:lnTo>
                    <a:pt x="120" y="17739"/>
                  </a:lnTo>
                  <a:lnTo>
                    <a:pt x="85" y="17673"/>
                  </a:lnTo>
                  <a:lnTo>
                    <a:pt x="55" y="17608"/>
                  </a:lnTo>
                  <a:lnTo>
                    <a:pt x="35" y="17532"/>
                  </a:lnTo>
                  <a:lnTo>
                    <a:pt x="20" y="17452"/>
                  </a:lnTo>
                  <a:lnTo>
                    <a:pt x="20" y="16734"/>
                  </a:lnTo>
                  <a:lnTo>
                    <a:pt x="20" y="16729"/>
                  </a:lnTo>
                  <a:lnTo>
                    <a:pt x="20" y="16729"/>
                  </a:lnTo>
                  <a:lnTo>
                    <a:pt x="45" y="16688"/>
                  </a:lnTo>
                  <a:lnTo>
                    <a:pt x="60" y="16649"/>
                  </a:lnTo>
                  <a:lnTo>
                    <a:pt x="70" y="16608"/>
                  </a:lnTo>
                  <a:lnTo>
                    <a:pt x="75" y="16563"/>
                  </a:lnTo>
                  <a:lnTo>
                    <a:pt x="70" y="16523"/>
                  </a:lnTo>
                  <a:lnTo>
                    <a:pt x="60" y="16478"/>
                  </a:lnTo>
                  <a:lnTo>
                    <a:pt x="45" y="16437"/>
                  </a:lnTo>
                  <a:lnTo>
                    <a:pt x="20" y="16397"/>
                  </a:lnTo>
                  <a:lnTo>
                    <a:pt x="20" y="16397"/>
                  </a:lnTo>
                  <a:lnTo>
                    <a:pt x="20" y="15508"/>
                  </a:lnTo>
                  <a:lnTo>
                    <a:pt x="95" y="14875"/>
                  </a:lnTo>
                  <a:lnTo>
                    <a:pt x="95" y="14875"/>
                  </a:lnTo>
                  <a:lnTo>
                    <a:pt x="136" y="14704"/>
                  </a:lnTo>
                  <a:lnTo>
                    <a:pt x="176" y="14533"/>
                  </a:lnTo>
                  <a:lnTo>
                    <a:pt x="246" y="14181"/>
                  </a:lnTo>
                  <a:lnTo>
                    <a:pt x="311" y="13830"/>
                  </a:lnTo>
                  <a:lnTo>
                    <a:pt x="362" y="13474"/>
                  </a:lnTo>
                  <a:lnTo>
                    <a:pt x="396" y="13111"/>
                  </a:lnTo>
                  <a:lnTo>
                    <a:pt x="427" y="12745"/>
                  </a:lnTo>
                  <a:lnTo>
                    <a:pt x="447" y="12378"/>
                  </a:lnTo>
                  <a:lnTo>
                    <a:pt x="457" y="12001"/>
                  </a:lnTo>
                  <a:lnTo>
                    <a:pt x="457" y="11624"/>
                  </a:lnTo>
                  <a:lnTo>
                    <a:pt x="447" y="11243"/>
                  </a:lnTo>
                  <a:lnTo>
                    <a:pt x="432" y="10855"/>
                  </a:lnTo>
                  <a:lnTo>
                    <a:pt x="407" y="10464"/>
                  </a:lnTo>
                  <a:lnTo>
                    <a:pt x="371" y="10072"/>
                  </a:lnTo>
                  <a:lnTo>
                    <a:pt x="326" y="9676"/>
                  </a:lnTo>
                  <a:lnTo>
                    <a:pt x="276" y="9274"/>
                  </a:lnTo>
                  <a:lnTo>
                    <a:pt x="221" y="8872"/>
                  </a:lnTo>
                  <a:lnTo>
                    <a:pt x="221" y="8872"/>
                  </a:lnTo>
                  <a:lnTo>
                    <a:pt x="170" y="8636"/>
                  </a:lnTo>
                  <a:lnTo>
                    <a:pt x="125" y="8400"/>
                  </a:lnTo>
                  <a:lnTo>
                    <a:pt x="90" y="8164"/>
                  </a:lnTo>
                  <a:lnTo>
                    <a:pt x="60" y="7928"/>
                  </a:lnTo>
                  <a:lnTo>
                    <a:pt x="35" y="7692"/>
                  </a:lnTo>
                  <a:lnTo>
                    <a:pt x="15" y="7455"/>
                  </a:lnTo>
                  <a:lnTo>
                    <a:pt x="5" y="7220"/>
                  </a:lnTo>
                  <a:lnTo>
                    <a:pt x="0" y="6983"/>
                  </a:lnTo>
                  <a:lnTo>
                    <a:pt x="0" y="6752"/>
                  </a:lnTo>
                  <a:lnTo>
                    <a:pt x="5" y="6516"/>
                  </a:lnTo>
                  <a:lnTo>
                    <a:pt x="20" y="6280"/>
                  </a:lnTo>
                  <a:lnTo>
                    <a:pt x="35" y="6049"/>
                  </a:lnTo>
                  <a:lnTo>
                    <a:pt x="60" y="5813"/>
                  </a:lnTo>
                  <a:lnTo>
                    <a:pt x="95" y="5577"/>
                  </a:lnTo>
                  <a:lnTo>
                    <a:pt x="131" y="5345"/>
                  </a:lnTo>
                  <a:lnTo>
                    <a:pt x="176" y="5110"/>
                  </a:lnTo>
                  <a:lnTo>
                    <a:pt x="176" y="5110"/>
                  </a:lnTo>
                  <a:lnTo>
                    <a:pt x="216" y="5004"/>
                  </a:lnTo>
                  <a:lnTo>
                    <a:pt x="261" y="4893"/>
                  </a:lnTo>
                  <a:lnTo>
                    <a:pt x="307" y="4788"/>
                  </a:lnTo>
                  <a:lnTo>
                    <a:pt x="362" y="4682"/>
                  </a:lnTo>
                  <a:lnTo>
                    <a:pt x="417" y="4577"/>
                  </a:lnTo>
                  <a:lnTo>
                    <a:pt x="477" y="4476"/>
                  </a:lnTo>
                  <a:lnTo>
                    <a:pt x="537" y="4376"/>
                  </a:lnTo>
                  <a:lnTo>
                    <a:pt x="608" y="4280"/>
                  </a:lnTo>
                  <a:lnTo>
                    <a:pt x="678" y="4185"/>
                  </a:lnTo>
                  <a:lnTo>
                    <a:pt x="754" y="4090"/>
                  </a:lnTo>
                  <a:lnTo>
                    <a:pt x="834" y="3994"/>
                  </a:lnTo>
                  <a:lnTo>
                    <a:pt x="914" y="3903"/>
                  </a:lnTo>
                  <a:lnTo>
                    <a:pt x="1000" y="3813"/>
                  </a:lnTo>
                  <a:lnTo>
                    <a:pt x="1090" y="3723"/>
                  </a:lnTo>
                  <a:lnTo>
                    <a:pt x="1181" y="3632"/>
                  </a:lnTo>
                  <a:lnTo>
                    <a:pt x="1276" y="3547"/>
                  </a:lnTo>
                  <a:lnTo>
                    <a:pt x="1276" y="3401"/>
                  </a:lnTo>
                  <a:lnTo>
                    <a:pt x="1276" y="3401"/>
                  </a:lnTo>
                  <a:lnTo>
                    <a:pt x="1271" y="3356"/>
                  </a:lnTo>
                  <a:lnTo>
                    <a:pt x="1266" y="3316"/>
                  </a:lnTo>
                  <a:lnTo>
                    <a:pt x="1251" y="3276"/>
                  </a:lnTo>
                  <a:lnTo>
                    <a:pt x="1231" y="3240"/>
                  </a:lnTo>
                  <a:lnTo>
                    <a:pt x="1206" y="3205"/>
                  </a:lnTo>
                  <a:lnTo>
                    <a:pt x="1176" y="3175"/>
                  </a:lnTo>
                  <a:lnTo>
                    <a:pt x="1145" y="3145"/>
                  </a:lnTo>
                  <a:lnTo>
                    <a:pt x="1105" y="3125"/>
                  </a:lnTo>
                  <a:lnTo>
                    <a:pt x="1105" y="3125"/>
                  </a:lnTo>
                  <a:lnTo>
                    <a:pt x="1090" y="2914"/>
                  </a:lnTo>
                  <a:lnTo>
                    <a:pt x="1075" y="2708"/>
                  </a:lnTo>
                  <a:lnTo>
                    <a:pt x="1065" y="2502"/>
                  </a:lnTo>
                  <a:lnTo>
                    <a:pt x="1070" y="2311"/>
                  </a:lnTo>
                  <a:lnTo>
                    <a:pt x="1075" y="2125"/>
                  </a:lnTo>
                  <a:lnTo>
                    <a:pt x="1085" y="2040"/>
                  </a:lnTo>
                  <a:lnTo>
                    <a:pt x="1095" y="1955"/>
                  </a:lnTo>
                  <a:lnTo>
                    <a:pt x="1110" y="1874"/>
                  </a:lnTo>
                  <a:lnTo>
                    <a:pt x="1130" y="1793"/>
                  </a:lnTo>
                  <a:lnTo>
                    <a:pt x="1150" y="1723"/>
                  </a:lnTo>
                  <a:lnTo>
                    <a:pt x="1170" y="1653"/>
                  </a:lnTo>
                  <a:lnTo>
                    <a:pt x="1170" y="1653"/>
                  </a:lnTo>
                  <a:lnTo>
                    <a:pt x="1181" y="1633"/>
                  </a:lnTo>
                  <a:lnTo>
                    <a:pt x="1201" y="1618"/>
                  </a:lnTo>
                  <a:lnTo>
                    <a:pt x="1221" y="1608"/>
                  </a:lnTo>
                  <a:lnTo>
                    <a:pt x="1240" y="1603"/>
                  </a:lnTo>
                  <a:lnTo>
                    <a:pt x="1512" y="1603"/>
                  </a:lnTo>
                  <a:lnTo>
                    <a:pt x="1512" y="1603"/>
                  </a:lnTo>
                  <a:lnTo>
                    <a:pt x="1537" y="1597"/>
                  </a:lnTo>
                  <a:lnTo>
                    <a:pt x="1552" y="1588"/>
                  </a:lnTo>
                  <a:lnTo>
                    <a:pt x="1567" y="1567"/>
                  </a:lnTo>
                  <a:lnTo>
                    <a:pt x="1572" y="1542"/>
                  </a:lnTo>
                  <a:lnTo>
                    <a:pt x="1572" y="1351"/>
                  </a:lnTo>
                  <a:lnTo>
                    <a:pt x="1572" y="1351"/>
                  </a:lnTo>
                  <a:lnTo>
                    <a:pt x="1577" y="1312"/>
                  </a:lnTo>
                  <a:lnTo>
                    <a:pt x="1592" y="1271"/>
                  </a:lnTo>
                  <a:lnTo>
                    <a:pt x="1612" y="1236"/>
                  </a:lnTo>
                  <a:lnTo>
                    <a:pt x="1637" y="1196"/>
                  </a:lnTo>
                  <a:lnTo>
                    <a:pt x="1668" y="1161"/>
                  </a:lnTo>
                  <a:lnTo>
                    <a:pt x="1703" y="1125"/>
                  </a:lnTo>
                  <a:lnTo>
                    <a:pt x="1738" y="1090"/>
                  </a:lnTo>
                  <a:lnTo>
                    <a:pt x="1783" y="1055"/>
                  </a:lnTo>
                  <a:lnTo>
                    <a:pt x="1783" y="1055"/>
                  </a:lnTo>
                  <a:lnTo>
                    <a:pt x="1763" y="935"/>
                  </a:lnTo>
                  <a:lnTo>
                    <a:pt x="1743" y="814"/>
                  </a:lnTo>
                  <a:lnTo>
                    <a:pt x="1733" y="694"/>
                  </a:lnTo>
                  <a:lnTo>
                    <a:pt x="1733" y="568"/>
                  </a:lnTo>
                  <a:lnTo>
                    <a:pt x="1733" y="447"/>
                  </a:lnTo>
                  <a:lnTo>
                    <a:pt x="1738" y="327"/>
                  </a:lnTo>
                  <a:lnTo>
                    <a:pt x="1753" y="201"/>
                  </a:lnTo>
                  <a:lnTo>
                    <a:pt x="1768" y="80"/>
                  </a:lnTo>
                  <a:lnTo>
                    <a:pt x="1768" y="80"/>
                  </a:lnTo>
                  <a:lnTo>
                    <a:pt x="1773" y="60"/>
                  </a:lnTo>
                  <a:lnTo>
                    <a:pt x="1778" y="46"/>
                  </a:lnTo>
                  <a:lnTo>
                    <a:pt x="1803" y="20"/>
                  </a:lnTo>
                  <a:lnTo>
                    <a:pt x="1833" y="5"/>
                  </a:lnTo>
                  <a:lnTo>
                    <a:pt x="1849" y="0"/>
                  </a:lnTo>
                  <a:lnTo>
                    <a:pt x="1864" y="0"/>
                  </a:lnTo>
                  <a:lnTo>
                    <a:pt x="2542" y="0"/>
                  </a:lnTo>
                  <a:lnTo>
                    <a:pt x="3220" y="0"/>
                  </a:lnTo>
                  <a:lnTo>
                    <a:pt x="3220" y="0"/>
                  </a:lnTo>
                  <a:lnTo>
                    <a:pt x="3240" y="0"/>
                  </a:lnTo>
                  <a:lnTo>
                    <a:pt x="3255" y="5"/>
                  </a:lnTo>
                  <a:lnTo>
                    <a:pt x="3286" y="20"/>
                  </a:lnTo>
                  <a:lnTo>
                    <a:pt x="3305" y="46"/>
                  </a:lnTo>
                  <a:lnTo>
                    <a:pt x="3316" y="60"/>
                  </a:lnTo>
                  <a:lnTo>
                    <a:pt x="3320" y="80"/>
                  </a:lnTo>
                  <a:lnTo>
                    <a:pt x="3320" y="80"/>
                  </a:lnTo>
                  <a:lnTo>
                    <a:pt x="3336" y="201"/>
                  </a:lnTo>
                  <a:lnTo>
                    <a:pt x="3350" y="327"/>
                  </a:lnTo>
                  <a:lnTo>
                    <a:pt x="3356" y="447"/>
                  </a:lnTo>
                  <a:lnTo>
                    <a:pt x="3356" y="568"/>
                  </a:lnTo>
                  <a:lnTo>
                    <a:pt x="3350" y="694"/>
                  </a:lnTo>
                  <a:lnTo>
                    <a:pt x="3341" y="814"/>
                  </a:lnTo>
                  <a:lnTo>
                    <a:pt x="3325" y="935"/>
                  </a:lnTo>
                  <a:lnTo>
                    <a:pt x="3305" y="1055"/>
                  </a:lnTo>
                  <a:lnTo>
                    <a:pt x="3305" y="1055"/>
                  </a:lnTo>
                  <a:lnTo>
                    <a:pt x="3346" y="1090"/>
                  </a:lnTo>
                  <a:lnTo>
                    <a:pt x="3386" y="1125"/>
                  </a:lnTo>
                  <a:lnTo>
                    <a:pt x="3421" y="1161"/>
                  </a:lnTo>
                  <a:lnTo>
                    <a:pt x="3451" y="1196"/>
                  </a:lnTo>
                  <a:lnTo>
                    <a:pt x="3476" y="1236"/>
                  </a:lnTo>
                  <a:lnTo>
                    <a:pt x="3496" y="1271"/>
                  </a:lnTo>
                  <a:lnTo>
                    <a:pt x="3512" y="1312"/>
                  </a:lnTo>
                  <a:lnTo>
                    <a:pt x="3516" y="1351"/>
                  </a:lnTo>
                  <a:lnTo>
                    <a:pt x="3516" y="1542"/>
                  </a:lnTo>
                  <a:lnTo>
                    <a:pt x="3516" y="1542"/>
                  </a:lnTo>
                  <a:lnTo>
                    <a:pt x="3521" y="1567"/>
                  </a:lnTo>
                  <a:lnTo>
                    <a:pt x="3532" y="1588"/>
                  </a:lnTo>
                  <a:lnTo>
                    <a:pt x="3551" y="1597"/>
                  </a:lnTo>
                  <a:lnTo>
                    <a:pt x="3577" y="1603"/>
                  </a:lnTo>
                  <a:lnTo>
                    <a:pt x="3843" y="1603"/>
                  </a:lnTo>
                  <a:lnTo>
                    <a:pt x="3843" y="1603"/>
                  </a:lnTo>
                  <a:lnTo>
                    <a:pt x="3868" y="1608"/>
                  </a:lnTo>
                  <a:lnTo>
                    <a:pt x="3888" y="1618"/>
                  </a:lnTo>
                  <a:lnTo>
                    <a:pt x="3903" y="1633"/>
                  </a:lnTo>
                  <a:lnTo>
                    <a:pt x="3918" y="1653"/>
                  </a:lnTo>
                  <a:lnTo>
                    <a:pt x="3918" y="1653"/>
                  </a:lnTo>
                  <a:lnTo>
                    <a:pt x="3938" y="1723"/>
                  </a:lnTo>
                  <a:lnTo>
                    <a:pt x="3959" y="1793"/>
                  </a:lnTo>
                  <a:lnTo>
                    <a:pt x="3979" y="1874"/>
                  </a:lnTo>
                  <a:lnTo>
                    <a:pt x="3989" y="1955"/>
                  </a:lnTo>
                  <a:lnTo>
                    <a:pt x="4004" y="2040"/>
                  </a:lnTo>
                  <a:lnTo>
                    <a:pt x="4009" y="2125"/>
                  </a:lnTo>
                  <a:lnTo>
                    <a:pt x="4019" y="2311"/>
                  </a:lnTo>
                  <a:lnTo>
                    <a:pt x="4024" y="2502"/>
                  </a:lnTo>
                  <a:lnTo>
                    <a:pt x="4014" y="2708"/>
                  </a:lnTo>
                  <a:lnTo>
                    <a:pt x="3999" y="2914"/>
                  </a:lnTo>
                  <a:lnTo>
                    <a:pt x="3979" y="3125"/>
                  </a:lnTo>
                  <a:lnTo>
                    <a:pt x="3979" y="3125"/>
                  </a:lnTo>
                  <a:lnTo>
                    <a:pt x="3943" y="3145"/>
                  </a:lnTo>
                  <a:lnTo>
                    <a:pt x="3913" y="3175"/>
                  </a:lnTo>
                  <a:lnTo>
                    <a:pt x="3883" y="3205"/>
                  </a:lnTo>
                  <a:lnTo>
                    <a:pt x="3858" y="3240"/>
                  </a:lnTo>
                  <a:lnTo>
                    <a:pt x="3838" y="3276"/>
                  </a:lnTo>
                  <a:lnTo>
                    <a:pt x="3823" y="3316"/>
                  </a:lnTo>
                  <a:lnTo>
                    <a:pt x="3813" y="3356"/>
                  </a:lnTo>
                  <a:lnTo>
                    <a:pt x="3813" y="3401"/>
                  </a:lnTo>
                  <a:lnTo>
                    <a:pt x="3813" y="3547"/>
                  </a:lnTo>
                  <a:lnTo>
                    <a:pt x="3813" y="3547"/>
                  </a:lnTo>
                  <a:lnTo>
                    <a:pt x="3909" y="3632"/>
                  </a:lnTo>
                  <a:lnTo>
                    <a:pt x="3999" y="3723"/>
                  </a:lnTo>
                  <a:lnTo>
                    <a:pt x="4089" y="3813"/>
                  </a:lnTo>
                  <a:lnTo>
                    <a:pt x="4175" y="3903"/>
                  </a:lnTo>
                  <a:lnTo>
                    <a:pt x="4255" y="3994"/>
                  </a:lnTo>
                  <a:lnTo>
                    <a:pt x="4335" y="4090"/>
                  </a:lnTo>
                  <a:lnTo>
                    <a:pt x="4411" y="4185"/>
                  </a:lnTo>
                  <a:lnTo>
                    <a:pt x="4481" y="4280"/>
                  </a:lnTo>
                  <a:lnTo>
                    <a:pt x="4552" y="4376"/>
                  </a:lnTo>
                  <a:lnTo>
                    <a:pt x="4612" y="4476"/>
                  </a:lnTo>
                  <a:lnTo>
                    <a:pt x="4672" y="4577"/>
                  </a:lnTo>
                  <a:lnTo>
                    <a:pt x="4727" y="4682"/>
                  </a:lnTo>
                  <a:lnTo>
                    <a:pt x="4782" y="4788"/>
                  </a:lnTo>
                  <a:lnTo>
                    <a:pt x="4828" y="4893"/>
                  </a:lnTo>
                  <a:lnTo>
                    <a:pt x="4873" y="5004"/>
                  </a:lnTo>
                  <a:lnTo>
                    <a:pt x="4913" y="5110"/>
                  </a:lnTo>
                  <a:lnTo>
                    <a:pt x="4913" y="5110"/>
                  </a:lnTo>
                  <a:lnTo>
                    <a:pt x="4953" y="5345"/>
                  </a:lnTo>
                  <a:lnTo>
                    <a:pt x="4993" y="5577"/>
                  </a:lnTo>
                  <a:lnTo>
                    <a:pt x="5024" y="5813"/>
                  </a:lnTo>
                  <a:lnTo>
                    <a:pt x="5049" y="6049"/>
                  </a:lnTo>
                  <a:lnTo>
                    <a:pt x="5069" y="6280"/>
                  </a:lnTo>
                  <a:lnTo>
                    <a:pt x="5084" y="6516"/>
                  </a:lnTo>
                  <a:lnTo>
                    <a:pt x="5089" y="6752"/>
                  </a:lnTo>
                  <a:lnTo>
                    <a:pt x="5089" y="6983"/>
                  </a:lnTo>
                  <a:lnTo>
                    <a:pt x="5084" y="7220"/>
                  </a:lnTo>
                  <a:lnTo>
                    <a:pt x="5074" y="7455"/>
                  </a:lnTo>
                  <a:lnTo>
                    <a:pt x="5054" y="7692"/>
                  </a:lnTo>
                  <a:lnTo>
                    <a:pt x="5029" y="7928"/>
                  </a:lnTo>
                  <a:lnTo>
                    <a:pt x="4999" y="8164"/>
                  </a:lnTo>
                  <a:lnTo>
                    <a:pt x="4963" y="8400"/>
                  </a:lnTo>
                  <a:lnTo>
                    <a:pt x="4918" y="8636"/>
                  </a:lnTo>
                  <a:lnTo>
                    <a:pt x="4868" y="8872"/>
                  </a:lnTo>
                  <a:lnTo>
                    <a:pt x="4868" y="8872"/>
                  </a:lnTo>
                  <a:lnTo>
                    <a:pt x="4812" y="9274"/>
                  </a:lnTo>
                  <a:lnTo>
                    <a:pt x="4762" y="9676"/>
                  </a:lnTo>
                  <a:lnTo>
                    <a:pt x="4717" y="10072"/>
                  </a:lnTo>
                  <a:lnTo>
                    <a:pt x="4682" y="10464"/>
                  </a:lnTo>
                  <a:lnTo>
                    <a:pt x="4657" y="10855"/>
                  </a:lnTo>
                  <a:lnTo>
                    <a:pt x="4641" y="11243"/>
                  </a:lnTo>
                  <a:lnTo>
                    <a:pt x="4632" y="11624"/>
                  </a:lnTo>
                  <a:lnTo>
                    <a:pt x="4632" y="12001"/>
                  </a:lnTo>
                  <a:lnTo>
                    <a:pt x="4641" y="12378"/>
                  </a:lnTo>
                  <a:lnTo>
                    <a:pt x="4662" y="12745"/>
                  </a:lnTo>
                  <a:lnTo>
                    <a:pt x="4687" y="13111"/>
                  </a:lnTo>
                  <a:lnTo>
                    <a:pt x="4727" y="13474"/>
                  </a:lnTo>
                  <a:lnTo>
                    <a:pt x="4778" y="13830"/>
                  </a:lnTo>
                  <a:lnTo>
                    <a:pt x="4837" y="14181"/>
                  </a:lnTo>
                  <a:lnTo>
                    <a:pt x="4913" y="14533"/>
                  </a:lnTo>
                  <a:lnTo>
                    <a:pt x="4953" y="14704"/>
                  </a:lnTo>
                  <a:lnTo>
                    <a:pt x="4993" y="14875"/>
                  </a:lnTo>
                  <a:lnTo>
                    <a:pt x="5069" y="15508"/>
                  </a:lnTo>
                  <a:lnTo>
                    <a:pt x="5069" y="16397"/>
                  </a:lnTo>
                  <a:lnTo>
                    <a:pt x="5069" y="16397"/>
                  </a:lnTo>
                  <a:lnTo>
                    <a:pt x="5069" y="16397"/>
                  </a:lnTo>
                  <a:lnTo>
                    <a:pt x="5044" y="16437"/>
                  </a:lnTo>
                  <a:lnTo>
                    <a:pt x="5029" y="16478"/>
                  </a:lnTo>
                  <a:lnTo>
                    <a:pt x="5018" y="16523"/>
                  </a:lnTo>
                  <a:lnTo>
                    <a:pt x="5013" y="16563"/>
                  </a:lnTo>
                  <a:lnTo>
                    <a:pt x="5018" y="16608"/>
                  </a:lnTo>
                  <a:lnTo>
                    <a:pt x="5029" y="16649"/>
                  </a:lnTo>
                  <a:lnTo>
                    <a:pt x="5044" y="16688"/>
                  </a:lnTo>
                  <a:lnTo>
                    <a:pt x="5069" y="16729"/>
                  </a:lnTo>
                  <a:lnTo>
                    <a:pt x="5069" y="16734"/>
                  </a:lnTo>
                  <a:lnTo>
                    <a:pt x="5069" y="17452"/>
                  </a:lnTo>
                  <a:lnTo>
                    <a:pt x="5069" y="17452"/>
                  </a:lnTo>
                  <a:lnTo>
                    <a:pt x="5054" y="17532"/>
                  </a:lnTo>
                  <a:lnTo>
                    <a:pt x="5029" y="17608"/>
                  </a:lnTo>
                  <a:lnTo>
                    <a:pt x="5004" y="17673"/>
                  </a:lnTo>
                  <a:lnTo>
                    <a:pt x="4968" y="17739"/>
                  </a:lnTo>
                  <a:lnTo>
                    <a:pt x="4933" y="17794"/>
                  </a:lnTo>
                  <a:lnTo>
                    <a:pt x="4888" y="17844"/>
                  </a:lnTo>
                  <a:lnTo>
                    <a:pt x="4843" y="17889"/>
                  </a:lnTo>
                  <a:lnTo>
                    <a:pt x="4787" y="17929"/>
                  </a:lnTo>
                  <a:lnTo>
                    <a:pt x="4732" y="17965"/>
                  </a:lnTo>
                  <a:lnTo>
                    <a:pt x="4672" y="18000"/>
                  </a:lnTo>
                  <a:lnTo>
                    <a:pt x="4607" y="18025"/>
                  </a:lnTo>
                  <a:lnTo>
                    <a:pt x="4536" y="18050"/>
                  </a:lnTo>
                  <a:lnTo>
                    <a:pt x="4466" y="18070"/>
                  </a:lnTo>
                  <a:lnTo>
                    <a:pt x="4390" y="18085"/>
                  </a:lnTo>
                  <a:lnTo>
                    <a:pt x="4315" y="18095"/>
                  </a:lnTo>
                  <a:lnTo>
                    <a:pt x="4235" y="18105"/>
                  </a:lnTo>
                  <a:lnTo>
                    <a:pt x="2542" y="18105"/>
                  </a:lnTo>
                </a:path>
              </a:pathLst>
            </a:custGeom>
            <a:noFill/>
            <a:ln w="12700">
              <a:solidFill>
                <a:schemeClr val="bg1">
                  <a:alpha val="30000"/>
                </a:schemeClr>
              </a:solidFill>
            </a:ln>
            <a:effectLst/>
          </p:spPr>
          <p:txBody>
            <a:bodyPr wrap="none" anchor="ctr"/>
            <a:lstStyle/>
            <a:p>
              <a:endParaRPr lang="en-US" sz="1709"/>
            </a:p>
          </p:txBody>
        </p:sp>
        <p:sp>
          <p:nvSpPr>
            <p:cNvPr id="14" name="Freeform 13">
              <a:extLst>
                <a:ext uri="{FF2B5EF4-FFF2-40B4-BE49-F238E27FC236}">
                  <a16:creationId xmlns:a16="http://schemas.microsoft.com/office/drawing/2014/main" id="{4A77C6DA-2596-C240-B839-058AC7353493}"/>
                </a:ext>
              </a:extLst>
            </p:cNvPr>
            <p:cNvSpPr>
              <a:spLocks noChangeArrowheads="1"/>
            </p:cNvSpPr>
            <p:nvPr/>
          </p:nvSpPr>
          <p:spPr bwMode="auto">
            <a:xfrm>
              <a:off x="5668206" y="1086914"/>
              <a:ext cx="1479255" cy="5049296"/>
            </a:xfrm>
            <a:custGeom>
              <a:avLst/>
              <a:gdLst>
                <a:gd name="T0" fmla="*/ 5349 w 5858"/>
                <a:gd name="T1" fmla="*/ 16141 h 19990"/>
                <a:gd name="T2" fmla="*/ 5289 w 5858"/>
                <a:gd name="T3" fmla="*/ 15548 h 19990"/>
                <a:gd name="T4" fmla="*/ 5319 w 5858"/>
                <a:gd name="T5" fmla="*/ 14920 h 19990"/>
                <a:gd name="T6" fmla="*/ 5807 w 5858"/>
                <a:gd name="T7" fmla="*/ 11554 h 19990"/>
                <a:gd name="T8" fmla="*/ 5741 w 5858"/>
                <a:gd name="T9" fmla="*/ 11278 h 19990"/>
                <a:gd name="T10" fmla="*/ 5706 w 5858"/>
                <a:gd name="T11" fmla="*/ 11162 h 19990"/>
                <a:gd name="T12" fmla="*/ 5771 w 5858"/>
                <a:gd name="T13" fmla="*/ 10018 h 19990"/>
                <a:gd name="T14" fmla="*/ 5721 w 5858"/>
                <a:gd name="T15" fmla="*/ 9018 h 19990"/>
                <a:gd name="T16" fmla="*/ 5536 w 5858"/>
                <a:gd name="T17" fmla="*/ 7943 h 19990"/>
                <a:gd name="T18" fmla="*/ 5505 w 5858"/>
                <a:gd name="T19" fmla="*/ 7295 h 19990"/>
                <a:gd name="T20" fmla="*/ 5505 w 5858"/>
                <a:gd name="T21" fmla="*/ 7179 h 19990"/>
                <a:gd name="T22" fmla="*/ 4586 w 5858"/>
                <a:gd name="T23" fmla="*/ 4466 h 19990"/>
                <a:gd name="T24" fmla="*/ 4290 w 5858"/>
                <a:gd name="T25" fmla="*/ 3371 h 19990"/>
                <a:gd name="T26" fmla="*/ 4184 w 5858"/>
                <a:gd name="T27" fmla="*/ 2738 h 19990"/>
                <a:gd name="T28" fmla="*/ 4159 w 5858"/>
                <a:gd name="T29" fmla="*/ 1583 h 19990"/>
                <a:gd name="T30" fmla="*/ 4184 w 5858"/>
                <a:gd name="T31" fmla="*/ 1512 h 19990"/>
                <a:gd name="T32" fmla="*/ 4290 w 5858"/>
                <a:gd name="T33" fmla="*/ 1432 h 19990"/>
                <a:gd name="T34" fmla="*/ 4179 w 5858"/>
                <a:gd name="T35" fmla="*/ 1015 h 19990"/>
                <a:gd name="T36" fmla="*/ 4103 w 5858"/>
                <a:gd name="T37" fmla="*/ 633 h 19990"/>
                <a:gd name="T38" fmla="*/ 4133 w 5858"/>
                <a:gd name="T39" fmla="*/ 477 h 19990"/>
                <a:gd name="T40" fmla="*/ 4174 w 5858"/>
                <a:gd name="T41" fmla="*/ 402 h 19990"/>
                <a:gd name="T42" fmla="*/ 4164 w 5858"/>
                <a:gd name="T43" fmla="*/ 276 h 19990"/>
                <a:gd name="T44" fmla="*/ 3983 w 5858"/>
                <a:gd name="T45" fmla="*/ 141 h 19990"/>
                <a:gd name="T46" fmla="*/ 3250 w 5858"/>
                <a:gd name="T47" fmla="*/ 15 h 19990"/>
                <a:gd name="T48" fmla="*/ 2608 w 5858"/>
                <a:gd name="T49" fmla="*/ 15 h 19990"/>
                <a:gd name="T50" fmla="*/ 1874 w 5858"/>
                <a:gd name="T51" fmla="*/ 141 h 19990"/>
                <a:gd name="T52" fmla="*/ 1693 w 5858"/>
                <a:gd name="T53" fmla="*/ 276 h 19990"/>
                <a:gd name="T54" fmla="*/ 1683 w 5858"/>
                <a:gd name="T55" fmla="*/ 402 h 19990"/>
                <a:gd name="T56" fmla="*/ 1723 w 5858"/>
                <a:gd name="T57" fmla="*/ 477 h 19990"/>
                <a:gd name="T58" fmla="*/ 1753 w 5858"/>
                <a:gd name="T59" fmla="*/ 633 h 19990"/>
                <a:gd name="T60" fmla="*/ 1678 w 5858"/>
                <a:gd name="T61" fmla="*/ 1015 h 19990"/>
                <a:gd name="T62" fmla="*/ 1563 w 5858"/>
                <a:gd name="T63" fmla="*/ 1432 h 19990"/>
                <a:gd name="T64" fmla="*/ 1673 w 5858"/>
                <a:gd name="T65" fmla="*/ 1512 h 19990"/>
                <a:gd name="T66" fmla="*/ 1698 w 5858"/>
                <a:gd name="T67" fmla="*/ 1583 h 19990"/>
                <a:gd name="T68" fmla="*/ 1668 w 5858"/>
                <a:gd name="T69" fmla="*/ 2738 h 19990"/>
                <a:gd name="T70" fmla="*/ 1563 w 5858"/>
                <a:gd name="T71" fmla="*/ 3371 h 19990"/>
                <a:gd name="T72" fmla="*/ 1271 w 5858"/>
                <a:gd name="T73" fmla="*/ 4466 h 19990"/>
                <a:gd name="T74" fmla="*/ 352 w 5858"/>
                <a:gd name="T75" fmla="*/ 7179 h 19990"/>
                <a:gd name="T76" fmla="*/ 397 w 5858"/>
                <a:gd name="T77" fmla="*/ 7601 h 19990"/>
                <a:gd name="T78" fmla="*/ 166 w 5858"/>
                <a:gd name="T79" fmla="*/ 8817 h 19990"/>
                <a:gd name="T80" fmla="*/ 101 w 5858"/>
                <a:gd name="T81" fmla="*/ 9907 h 19990"/>
                <a:gd name="T82" fmla="*/ 151 w 5858"/>
                <a:gd name="T83" fmla="*/ 11137 h 19990"/>
                <a:gd name="T84" fmla="*/ 116 w 5858"/>
                <a:gd name="T85" fmla="*/ 11278 h 19990"/>
                <a:gd name="T86" fmla="*/ 46 w 5858"/>
                <a:gd name="T87" fmla="*/ 11494 h 19990"/>
                <a:gd name="T88" fmla="*/ 523 w 5858"/>
                <a:gd name="T89" fmla="*/ 14794 h 19990"/>
                <a:gd name="T90" fmla="*/ 568 w 5858"/>
                <a:gd name="T91" fmla="*/ 15422 h 19990"/>
                <a:gd name="T92" fmla="*/ 528 w 5858"/>
                <a:gd name="T93" fmla="*/ 16025 h 19990"/>
                <a:gd name="T94" fmla="*/ 60 w 5858"/>
                <a:gd name="T95" fmla="*/ 17769 h 19990"/>
                <a:gd name="T96" fmla="*/ 0 w 5858"/>
                <a:gd name="T97" fmla="*/ 18311 h 19990"/>
                <a:gd name="T98" fmla="*/ 30 w 5858"/>
                <a:gd name="T99" fmla="*/ 18818 h 19990"/>
                <a:gd name="T100" fmla="*/ 146 w 5858"/>
                <a:gd name="T101" fmla="*/ 19266 h 19990"/>
                <a:gd name="T102" fmla="*/ 558 w 5858"/>
                <a:gd name="T103" fmla="*/ 19552 h 19990"/>
                <a:gd name="T104" fmla="*/ 1342 w 5858"/>
                <a:gd name="T105" fmla="*/ 19829 h 19990"/>
                <a:gd name="T106" fmla="*/ 2266 w 5858"/>
                <a:gd name="T107" fmla="*/ 19974 h 19990"/>
                <a:gd name="T108" fmla="*/ 2989 w 5858"/>
                <a:gd name="T109" fmla="*/ 19984 h 19990"/>
                <a:gd name="T110" fmla="*/ 3782 w 5858"/>
                <a:gd name="T111" fmla="*/ 19959 h 19990"/>
                <a:gd name="T112" fmla="*/ 4686 w 5858"/>
                <a:gd name="T113" fmla="*/ 19778 h 19990"/>
                <a:gd name="T114" fmla="*/ 5430 w 5858"/>
                <a:gd name="T115" fmla="*/ 19487 h 19990"/>
                <a:gd name="T116" fmla="*/ 5741 w 5858"/>
                <a:gd name="T117" fmla="*/ 19181 h 19990"/>
                <a:gd name="T118" fmla="*/ 5842 w 5858"/>
                <a:gd name="T119" fmla="*/ 18723 h 19990"/>
                <a:gd name="T120" fmla="*/ 5852 w 5858"/>
                <a:gd name="T121" fmla="*/ 18206 h 19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8" h="19990">
                  <a:moveTo>
                    <a:pt x="5796" y="17769"/>
                  </a:moveTo>
                  <a:lnTo>
                    <a:pt x="5399" y="16372"/>
                  </a:lnTo>
                  <a:lnTo>
                    <a:pt x="5399" y="16372"/>
                  </a:lnTo>
                  <a:lnTo>
                    <a:pt x="5374" y="16256"/>
                  </a:lnTo>
                  <a:lnTo>
                    <a:pt x="5349" y="16141"/>
                  </a:lnTo>
                  <a:lnTo>
                    <a:pt x="5329" y="16025"/>
                  </a:lnTo>
                  <a:lnTo>
                    <a:pt x="5314" y="15910"/>
                  </a:lnTo>
                  <a:lnTo>
                    <a:pt x="5299" y="15789"/>
                  </a:lnTo>
                  <a:lnTo>
                    <a:pt x="5294" y="15668"/>
                  </a:lnTo>
                  <a:lnTo>
                    <a:pt x="5289" y="15548"/>
                  </a:lnTo>
                  <a:lnTo>
                    <a:pt x="5289" y="15422"/>
                  </a:lnTo>
                  <a:lnTo>
                    <a:pt x="5289" y="15302"/>
                  </a:lnTo>
                  <a:lnTo>
                    <a:pt x="5294" y="15176"/>
                  </a:lnTo>
                  <a:lnTo>
                    <a:pt x="5304" y="15050"/>
                  </a:lnTo>
                  <a:lnTo>
                    <a:pt x="5319" y="14920"/>
                  </a:lnTo>
                  <a:lnTo>
                    <a:pt x="5335" y="14794"/>
                  </a:lnTo>
                  <a:lnTo>
                    <a:pt x="5354" y="14664"/>
                  </a:lnTo>
                  <a:lnTo>
                    <a:pt x="5399" y="14398"/>
                  </a:lnTo>
                  <a:lnTo>
                    <a:pt x="5807" y="11554"/>
                  </a:lnTo>
                  <a:lnTo>
                    <a:pt x="5807" y="11554"/>
                  </a:lnTo>
                  <a:lnTo>
                    <a:pt x="5812" y="11494"/>
                  </a:lnTo>
                  <a:lnTo>
                    <a:pt x="5802" y="11428"/>
                  </a:lnTo>
                  <a:lnTo>
                    <a:pt x="5787" y="11368"/>
                  </a:lnTo>
                  <a:lnTo>
                    <a:pt x="5762" y="11308"/>
                  </a:lnTo>
                  <a:lnTo>
                    <a:pt x="5741" y="11278"/>
                  </a:lnTo>
                  <a:lnTo>
                    <a:pt x="5741" y="11278"/>
                  </a:lnTo>
                  <a:lnTo>
                    <a:pt x="5726" y="11247"/>
                  </a:lnTo>
                  <a:lnTo>
                    <a:pt x="5716" y="11222"/>
                  </a:lnTo>
                  <a:lnTo>
                    <a:pt x="5711" y="11192"/>
                  </a:lnTo>
                  <a:lnTo>
                    <a:pt x="5706" y="11162"/>
                  </a:lnTo>
                  <a:lnTo>
                    <a:pt x="5706" y="11162"/>
                  </a:lnTo>
                  <a:lnTo>
                    <a:pt x="5726" y="10836"/>
                  </a:lnTo>
                  <a:lnTo>
                    <a:pt x="5746" y="10514"/>
                  </a:lnTo>
                  <a:lnTo>
                    <a:pt x="5766" y="10188"/>
                  </a:lnTo>
                  <a:lnTo>
                    <a:pt x="5771" y="10018"/>
                  </a:lnTo>
                  <a:lnTo>
                    <a:pt x="5771" y="9837"/>
                  </a:lnTo>
                  <a:lnTo>
                    <a:pt x="5771" y="9651"/>
                  </a:lnTo>
                  <a:lnTo>
                    <a:pt x="5762" y="9450"/>
                  </a:lnTo>
                  <a:lnTo>
                    <a:pt x="5746" y="9239"/>
                  </a:lnTo>
                  <a:lnTo>
                    <a:pt x="5721" y="9018"/>
                  </a:lnTo>
                  <a:lnTo>
                    <a:pt x="5691" y="8772"/>
                  </a:lnTo>
                  <a:lnTo>
                    <a:pt x="5651" y="8515"/>
                  </a:lnTo>
                  <a:lnTo>
                    <a:pt x="5600" y="8234"/>
                  </a:lnTo>
                  <a:lnTo>
                    <a:pt x="5536" y="7933"/>
                  </a:lnTo>
                  <a:lnTo>
                    <a:pt x="5536" y="7943"/>
                  </a:lnTo>
                  <a:lnTo>
                    <a:pt x="5536" y="7943"/>
                  </a:lnTo>
                  <a:lnTo>
                    <a:pt x="5460" y="7601"/>
                  </a:lnTo>
                  <a:lnTo>
                    <a:pt x="5460" y="7601"/>
                  </a:lnTo>
                  <a:lnTo>
                    <a:pt x="5536" y="7933"/>
                  </a:lnTo>
                  <a:lnTo>
                    <a:pt x="5505" y="7295"/>
                  </a:lnTo>
                  <a:lnTo>
                    <a:pt x="5505" y="7295"/>
                  </a:lnTo>
                  <a:lnTo>
                    <a:pt x="5510" y="7265"/>
                  </a:lnTo>
                  <a:lnTo>
                    <a:pt x="5515" y="7240"/>
                  </a:lnTo>
                  <a:lnTo>
                    <a:pt x="5510" y="7209"/>
                  </a:lnTo>
                  <a:lnTo>
                    <a:pt x="5505" y="7179"/>
                  </a:lnTo>
                  <a:lnTo>
                    <a:pt x="4762" y="4964"/>
                  </a:lnTo>
                  <a:lnTo>
                    <a:pt x="4762" y="4964"/>
                  </a:lnTo>
                  <a:lnTo>
                    <a:pt x="4701" y="4818"/>
                  </a:lnTo>
                  <a:lnTo>
                    <a:pt x="4641" y="4652"/>
                  </a:lnTo>
                  <a:lnTo>
                    <a:pt x="4586" y="4466"/>
                  </a:lnTo>
                  <a:lnTo>
                    <a:pt x="4525" y="4270"/>
                  </a:lnTo>
                  <a:lnTo>
                    <a:pt x="4465" y="4059"/>
                  </a:lnTo>
                  <a:lnTo>
                    <a:pt x="4410" y="3838"/>
                  </a:lnTo>
                  <a:lnTo>
                    <a:pt x="4290" y="3371"/>
                  </a:lnTo>
                  <a:lnTo>
                    <a:pt x="4290" y="3371"/>
                  </a:lnTo>
                  <a:lnTo>
                    <a:pt x="4264" y="3246"/>
                  </a:lnTo>
                  <a:lnTo>
                    <a:pt x="4239" y="3120"/>
                  </a:lnTo>
                  <a:lnTo>
                    <a:pt x="4219" y="2994"/>
                  </a:lnTo>
                  <a:lnTo>
                    <a:pt x="4199" y="2869"/>
                  </a:lnTo>
                  <a:lnTo>
                    <a:pt x="4184" y="2738"/>
                  </a:lnTo>
                  <a:lnTo>
                    <a:pt x="4174" y="2612"/>
                  </a:lnTo>
                  <a:lnTo>
                    <a:pt x="4169" y="2487"/>
                  </a:lnTo>
                  <a:lnTo>
                    <a:pt x="4164" y="2356"/>
                  </a:lnTo>
                  <a:lnTo>
                    <a:pt x="4164" y="2356"/>
                  </a:lnTo>
                  <a:lnTo>
                    <a:pt x="4159" y="1583"/>
                  </a:lnTo>
                  <a:lnTo>
                    <a:pt x="4159" y="1583"/>
                  </a:lnTo>
                  <a:lnTo>
                    <a:pt x="4159" y="1562"/>
                  </a:lnTo>
                  <a:lnTo>
                    <a:pt x="4164" y="1547"/>
                  </a:lnTo>
                  <a:lnTo>
                    <a:pt x="4174" y="1527"/>
                  </a:lnTo>
                  <a:lnTo>
                    <a:pt x="4184" y="1512"/>
                  </a:lnTo>
                  <a:lnTo>
                    <a:pt x="4209" y="1487"/>
                  </a:lnTo>
                  <a:lnTo>
                    <a:pt x="4244" y="1472"/>
                  </a:lnTo>
                  <a:lnTo>
                    <a:pt x="4244" y="1472"/>
                  </a:lnTo>
                  <a:lnTo>
                    <a:pt x="4274" y="1457"/>
                  </a:lnTo>
                  <a:lnTo>
                    <a:pt x="4290" y="1432"/>
                  </a:lnTo>
                  <a:lnTo>
                    <a:pt x="4304" y="1396"/>
                  </a:lnTo>
                  <a:lnTo>
                    <a:pt x="4309" y="1351"/>
                  </a:lnTo>
                  <a:lnTo>
                    <a:pt x="4309" y="1351"/>
                  </a:lnTo>
                  <a:lnTo>
                    <a:pt x="4214" y="1120"/>
                  </a:lnTo>
                  <a:lnTo>
                    <a:pt x="4179" y="1015"/>
                  </a:lnTo>
                  <a:lnTo>
                    <a:pt x="4149" y="919"/>
                  </a:lnTo>
                  <a:lnTo>
                    <a:pt x="4124" y="834"/>
                  </a:lnTo>
                  <a:lnTo>
                    <a:pt x="4108" y="753"/>
                  </a:lnTo>
                  <a:lnTo>
                    <a:pt x="4103" y="689"/>
                  </a:lnTo>
                  <a:lnTo>
                    <a:pt x="4103" y="633"/>
                  </a:lnTo>
                  <a:lnTo>
                    <a:pt x="4103" y="633"/>
                  </a:lnTo>
                  <a:lnTo>
                    <a:pt x="4099" y="593"/>
                  </a:lnTo>
                  <a:lnTo>
                    <a:pt x="4103" y="552"/>
                  </a:lnTo>
                  <a:lnTo>
                    <a:pt x="4114" y="513"/>
                  </a:lnTo>
                  <a:lnTo>
                    <a:pt x="4133" y="477"/>
                  </a:lnTo>
                  <a:lnTo>
                    <a:pt x="4139" y="472"/>
                  </a:lnTo>
                  <a:lnTo>
                    <a:pt x="4139" y="472"/>
                  </a:lnTo>
                  <a:lnTo>
                    <a:pt x="4154" y="452"/>
                  </a:lnTo>
                  <a:lnTo>
                    <a:pt x="4164" y="427"/>
                  </a:lnTo>
                  <a:lnTo>
                    <a:pt x="4174" y="402"/>
                  </a:lnTo>
                  <a:lnTo>
                    <a:pt x="4179" y="377"/>
                  </a:lnTo>
                  <a:lnTo>
                    <a:pt x="4179" y="352"/>
                  </a:lnTo>
                  <a:lnTo>
                    <a:pt x="4179" y="326"/>
                  </a:lnTo>
                  <a:lnTo>
                    <a:pt x="4174" y="301"/>
                  </a:lnTo>
                  <a:lnTo>
                    <a:pt x="4164" y="276"/>
                  </a:lnTo>
                  <a:lnTo>
                    <a:pt x="4164" y="276"/>
                  </a:lnTo>
                  <a:lnTo>
                    <a:pt x="4139" y="231"/>
                  </a:lnTo>
                  <a:lnTo>
                    <a:pt x="4114" y="181"/>
                  </a:lnTo>
                  <a:lnTo>
                    <a:pt x="4114" y="181"/>
                  </a:lnTo>
                  <a:lnTo>
                    <a:pt x="3983" y="141"/>
                  </a:lnTo>
                  <a:lnTo>
                    <a:pt x="3848" y="100"/>
                  </a:lnTo>
                  <a:lnTo>
                    <a:pt x="3702" y="71"/>
                  </a:lnTo>
                  <a:lnTo>
                    <a:pt x="3556" y="45"/>
                  </a:lnTo>
                  <a:lnTo>
                    <a:pt x="3405" y="25"/>
                  </a:lnTo>
                  <a:lnTo>
                    <a:pt x="3250" y="15"/>
                  </a:lnTo>
                  <a:lnTo>
                    <a:pt x="3094" y="5"/>
                  </a:lnTo>
                  <a:lnTo>
                    <a:pt x="2929" y="0"/>
                  </a:lnTo>
                  <a:lnTo>
                    <a:pt x="2929" y="0"/>
                  </a:lnTo>
                  <a:lnTo>
                    <a:pt x="2763" y="5"/>
                  </a:lnTo>
                  <a:lnTo>
                    <a:pt x="2608" y="15"/>
                  </a:lnTo>
                  <a:lnTo>
                    <a:pt x="2452" y="25"/>
                  </a:lnTo>
                  <a:lnTo>
                    <a:pt x="2301" y="45"/>
                  </a:lnTo>
                  <a:lnTo>
                    <a:pt x="2150" y="71"/>
                  </a:lnTo>
                  <a:lnTo>
                    <a:pt x="2010" y="100"/>
                  </a:lnTo>
                  <a:lnTo>
                    <a:pt x="1874" y="141"/>
                  </a:lnTo>
                  <a:lnTo>
                    <a:pt x="1743" y="181"/>
                  </a:lnTo>
                  <a:lnTo>
                    <a:pt x="1743" y="181"/>
                  </a:lnTo>
                  <a:lnTo>
                    <a:pt x="1718" y="231"/>
                  </a:lnTo>
                  <a:lnTo>
                    <a:pt x="1693" y="276"/>
                  </a:lnTo>
                  <a:lnTo>
                    <a:pt x="1693" y="276"/>
                  </a:lnTo>
                  <a:lnTo>
                    <a:pt x="1683" y="301"/>
                  </a:lnTo>
                  <a:lnTo>
                    <a:pt x="1678" y="326"/>
                  </a:lnTo>
                  <a:lnTo>
                    <a:pt x="1678" y="352"/>
                  </a:lnTo>
                  <a:lnTo>
                    <a:pt x="1678" y="377"/>
                  </a:lnTo>
                  <a:lnTo>
                    <a:pt x="1683" y="402"/>
                  </a:lnTo>
                  <a:lnTo>
                    <a:pt x="1693" y="427"/>
                  </a:lnTo>
                  <a:lnTo>
                    <a:pt x="1703" y="452"/>
                  </a:lnTo>
                  <a:lnTo>
                    <a:pt x="1718" y="472"/>
                  </a:lnTo>
                  <a:lnTo>
                    <a:pt x="1723" y="477"/>
                  </a:lnTo>
                  <a:lnTo>
                    <a:pt x="1723" y="477"/>
                  </a:lnTo>
                  <a:lnTo>
                    <a:pt x="1743" y="513"/>
                  </a:lnTo>
                  <a:lnTo>
                    <a:pt x="1753" y="552"/>
                  </a:lnTo>
                  <a:lnTo>
                    <a:pt x="1759" y="593"/>
                  </a:lnTo>
                  <a:lnTo>
                    <a:pt x="1753" y="633"/>
                  </a:lnTo>
                  <a:lnTo>
                    <a:pt x="1753" y="633"/>
                  </a:lnTo>
                  <a:lnTo>
                    <a:pt x="1753" y="689"/>
                  </a:lnTo>
                  <a:lnTo>
                    <a:pt x="1748" y="753"/>
                  </a:lnTo>
                  <a:lnTo>
                    <a:pt x="1733" y="834"/>
                  </a:lnTo>
                  <a:lnTo>
                    <a:pt x="1708" y="919"/>
                  </a:lnTo>
                  <a:lnTo>
                    <a:pt x="1678" y="1015"/>
                  </a:lnTo>
                  <a:lnTo>
                    <a:pt x="1643" y="1120"/>
                  </a:lnTo>
                  <a:lnTo>
                    <a:pt x="1547" y="1351"/>
                  </a:lnTo>
                  <a:lnTo>
                    <a:pt x="1547" y="1351"/>
                  </a:lnTo>
                  <a:lnTo>
                    <a:pt x="1552" y="1396"/>
                  </a:lnTo>
                  <a:lnTo>
                    <a:pt x="1563" y="1432"/>
                  </a:lnTo>
                  <a:lnTo>
                    <a:pt x="1583" y="1457"/>
                  </a:lnTo>
                  <a:lnTo>
                    <a:pt x="1613" y="1472"/>
                  </a:lnTo>
                  <a:lnTo>
                    <a:pt x="1613" y="1472"/>
                  </a:lnTo>
                  <a:lnTo>
                    <a:pt x="1648" y="1487"/>
                  </a:lnTo>
                  <a:lnTo>
                    <a:pt x="1673" y="1512"/>
                  </a:lnTo>
                  <a:lnTo>
                    <a:pt x="1683" y="1527"/>
                  </a:lnTo>
                  <a:lnTo>
                    <a:pt x="1693" y="1547"/>
                  </a:lnTo>
                  <a:lnTo>
                    <a:pt x="1698" y="1562"/>
                  </a:lnTo>
                  <a:lnTo>
                    <a:pt x="1698" y="1583"/>
                  </a:lnTo>
                  <a:lnTo>
                    <a:pt x="1698" y="1583"/>
                  </a:lnTo>
                  <a:lnTo>
                    <a:pt x="1693" y="2356"/>
                  </a:lnTo>
                  <a:lnTo>
                    <a:pt x="1693" y="2356"/>
                  </a:lnTo>
                  <a:lnTo>
                    <a:pt x="1688" y="2487"/>
                  </a:lnTo>
                  <a:lnTo>
                    <a:pt x="1683" y="2612"/>
                  </a:lnTo>
                  <a:lnTo>
                    <a:pt x="1668" y="2738"/>
                  </a:lnTo>
                  <a:lnTo>
                    <a:pt x="1658" y="2869"/>
                  </a:lnTo>
                  <a:lnTo>
                    <a:pt x="1638" y="2994"/>
                  </a:lnTo>
                  <a:lnTo>
                    <a:pt x="1618" y="3120"/>
                  </a:lnTo>
                  <a:lnTo>
                    <a:pt x="1593" y="3246"/>
                  </a:lnTo>
                  <a:lnTo>
                    <a:pt x="1563" y="3371"/>
                  </a:lnTo>
                  <a:lnTo>
                    <a:pt x="1563" y="3371"/>
                  </a:lnTo>
                  <a:lnTo>
                    <a:pt x="1447" y="3838"/>
                  </a:lnTo>
                  <a:lnTo>
                    <a:pt x="1392" y="4059"/>
                  </a:lnTo>
                  <a:lnTo>
                    <a:pt x="1331" y="4270"/>
                  </a:lnTo>
                  <a:lnTo>
                    <a:pt x="1271" y="4466"/>
                  </a:lnTo>
                  <a:lnTo>
                    <a:pt x="1211" y="4652"/>
                  </a:lnTo>
                  <a:lnTo>
                    <a:pt x="1155" y="4818"/>
                  </a:lnTo>
                  <a:lnTo>
                    <a:pt x="1095" y="4964"/>
                  </a:lnTo>
                  <a:lnTo>
                    <a:pt x="352" y="7179"/>
                  </a:lnTo>
                  <a:lnTo>
                    <a:pt x="352" y="7179"/>
                  </a:lnTo>
                  <a:lnTo>
                    <a:pt x="347" y="7209"/>
                  </a:lnTo>
                  <a:lnTo>
                    <a:pt x="342" y="7240"/>
                  </a:lnTo>
                  <a:lnTo>
                    <a:pt x="347" y="7265"/>
                  </a:lnTo>
                  <a:lnTo>
                    <a:pt x="352" y="7295"/>
                  </a:lnTo>
                  <a:lnTo>
                    <a:pt x="397" y="7601"/>
                  </a:lnTo>
                  <a:lnTo>
                    <a:pt x="397" y="7601"/>
                  </a:lnTo>
                  <a:lnTo>
                    <a:pt x="317" y="7943"/>
                  </a:lnTo>
                  <a:lnTo>
                    <a:pt x="256" y="8260"/>
                  </a:lnTo>
                  <a:lnTo>
                    <a:pt x="206" y="8545"/>
                  </a:lnTo>
                  <a:lnTo>
                    <a:pt x="166" y="8817"/>
                  </a:lnTo>
                  <a:lnTo>
                    <a:pt x="141" y="9063"/>
                  </a:lnTo>
                  <a:lnTo>
                    <a:pt x="121" y="9294"/>
                  </a:lnTo>
                  <a:lnTo>
                    <a:pt x="106" y="9510"/>
                  </a:lnTo>
                  <a:lnTo>
                    <a:pt x="101" y="9716"/>
                  </a:lnTo>
                  <a:lnTo>
                    <a:pt x="101" y="9907"/>
                  </a:lnTo>
                  <a:lnTo>
                    <a:pt x="106" y="10093"/>
                  </a:lnTo>
                  <a:lnTo>
                    <a:pt x="121" y="10440"/>
                  </a:lnTo>
                  <a:lnTo>
                    <a:pt x="141" y="10785"/>
                  </a:lnTo>
                  <a:lnTo>
                    <a:pt x="146" y="10956"/>
                  </a:lnTo>
                  <a:lnTo>
                    <a:pt x="151" y="11137"/>
                  </a:lnTo>
                  <a:lnTo>
                    <a:pt x="151" y="11137"/>
                  </a:lnTo>
                  <a:lnTo>
                    <a:pt x="151" y="11172"/>
                  </a:lnTo>
                  <a:lnTo>
                    <a:pt x="141" y="11207"/>
                  </a:lnTo>
                  <a:lnTo>
                    <a:pt x="131" y="11243"/>
                  </a:lnTo>
                  <a:lnTo>
                    <a:pt x="116" y="11278"/>
                  </a:lnTo>
                  <a:lnTo>
                    <a:pt x="96" y="11308"/>
                  </a:lnTo>
                  <a:lnTo>
                    <a:pt x="96" y="11308"/>
                  </a:lnTo>
                  <a:lnTo>
                    <a:pt x="71" y="11368"/>
                  </a:lnTo>
                  <a:lnTo>
                    <a:pt x="51" y="11428"/>
                  </a:lnTo>
                  <a:lnTo>
                    <a:pt x="46" y="11494"/>
                  </a:lnTo>
                  <a:lnTo>
                    <a:pt x="51" y="11554"/>
                  </a:lnTo>
                  <a:lnTo>
                    <a:pt x="457" y="14398"/>
                  </a:lnTo>
                  <a:lnTo>
                    <a:pt x="457" y="14398"/>
                  </a:lnTo>
                  <a:lnTo>
                    <a:pt x="503" y="14664"/>
                  </a:lnTo>
                  <a:lnTo>
                    <a:pt x="523" y="14794"/>
                  </a:lnTo>
                  <a:lnTo>
                    <a:pt x="538" y="14920"/>
                  </a:lnTo>
                  <a:lnTo>
                    <a:pt x="553" y="15050"/>
                  </a:lnTo>
                  <a:lnTo>
                    <a:pt x="563" y="15176"/>
                  </a:lnTo>
                  <a:lnTo>
                    <a:pt x="568" y="15302"/>
                  </a:lnTo>
                  <a:lnTo>
                    <a:pt x="568" y="15422"/>
                  </a:lnTo>
                  <a:lnTo>
                    <a:pt x="568" y="15548"/>
                  </a:lnTo>
                  <a:lnTo>
                    <a:pt x="563" y="15668"/>
                  </a:lnTo>
                  <a:lnTo>
                    <a:pt x="553" y="15789"/>
                  </a:lnTo>
                  <a:lnTo>
                    <a:pt x="543" y="15910"/>
                  </a:lnTo>
                  <a:lnTo>
                    <a:pt x="528" y="16025"/>
                  </a:lnTo>
                  <a:lnTo>
                    <a:pt x="507" y="16141"/>
                  </a:lnTo>
                  <a:lnTo>
                    <a:pt x="482" y="16256"/>
                  </a:lnTo>
                  <a:lnTo>
                    <a:pt x="457" y="16372"/>
                  </a:lnTo>
                  <a:lnTo>
                    <a:pt x="60" y="17769"/>
                  </a:lnTo>
                  <a:lnTo>
                    <a:pt x="60" y="17769"/>
                  </a:lnTo>
                  <a:lnTo>
                    <a:pt x="40" y="17879"/>
                  </a:lnTo>
                  <a:lnTo>
                    <a:pt x="26" y="17990"/>
                  </a:lnTo>
                  <a:lnTo>
                    <a:pt x="15" y="18100"/>
                  </a:lnTo>
                  <a:lnTo>
                    <a:pt x="5" y="18206"/>
                  </a:lnTo>
                  <a:lnTo>
                    <a:pt x="0" y="18311"/>
                  </a:lnTo>
                  <a:lnTo>
                    <a:pt x="0" y="18417"/>
                  </a:lnTo>
                  <a:lnTo>
                    <a:pt x="0" y="18522"/>
                  </a:lnTo>
                  <a:lnTo>
                    <a:pt x="5" y="18622"/>
                  </a:lnTo>
                  <a:lnTo>
                    <a:pt x="15" y="18723"/>
                  </a:lnTo>
                  <a:lnTo>
                    <a:pt x="30" y="18818"/>
                  </a:lnTo>
                  <a:lnTo>
                    <a:pt x="46" y="18914"/>
                  </a:lnTo>
                  <a:lnTo>
                    <a:pt x="65" y="19010"/>
                  </a:lnTo>
                  <a:lnTo>
                    <a:pt x="90" y="19095"/>
                  </a:lnTo>
                  <a:lnTo>
                    <a:pt x="116" y="19181"/>
                  </a:lnTo>
                  <a:lnTo>
                    <a:pt x="146" y="19266"/>
                  </a:lnTo>
                  <a:lnTo>
                    <a:pt x="181" y="19346"/>
                  </a:lnTo>
                  <a:lnTo>
                    <a:pt x="181" y="19346"/>
                  </a:lnTo>
                  <a:lnTo>
                    <a:pt x="297" y="19416"/>
                  </a:lnTo>
                  <a:lnTo>
                    <a:pt x="422" y="19487"/>
                  </a:lnTo>
                  <a:lnTo>
                    <a:pt x="558" y="19552"/>
                  </a:lnTo>
                  <a:lnTo>
                    <a:pt x="699" y="19612"/>
                  </a:lnTo>
                  <a:lnTo>
                    <a:pt x="849" y="19673"/>
                  </a:lnTo>
                  <a:lnTo>
                    <a:pt x="1005" y="19728"/>
                  </a:lnTo>
                  <a:lnTo>
                    <a:pt x="1171" y="19778"/>
                  </a:lnTo>
                  <a:lnTo>
                    <a:pt x="1342" y="19829"/>
                  </a:lnTo>
                  <a:lnTo>
                    <a:pt x="1517" y="19869"/>
                  </a:lnTo>
                  <a:lnTo>
                    <a:pt x="1698" y="19904"/>
                  </a:lnTo>
                  <a:lnTo>
                    <a:pt x="1884" y="19934"/>
                  </a:lnTo>
                  <a:lnTo>
                    <a:pt x="2075" y="19959"/>
                  </a:lnTo>
                  <a:lnTo>
                    <a:pt x="2266" y="19974"/>
                  </a:lnTo>
                  <a:lnTo>
                    <a:pt x="2467" y="19984"/>
                  </a:lnTo>
                  <a:lnTo>
                    <a:pt x="2668" y="19989"/>
                  </a:lnTo>
                  <a:lnTo>
                    <a:pt x="2868" y="19984"/>
                  </a:lnTo>
                  <a:lnTo>
                    <a:pt x="2868" y="19984"/>
                  </a:lnTo>
                  <a:lnTo>
                    <a:pt x="2989" y="19984"/>
                  </a:lnTo>
                  <a:lnTo>
                    <a:pt x="2989" y="19984"/>
                  </a:lnTo>
                  <a:lnTo>
                    <a:pt x="3189" y="19989"/>
                  </a:lnTo>
                  <a:lnTo>
                    <a:pt x="3390" y="19984"/>
                  </a:lnTo>
                  <a:lnTo>
                    <a:pt x="3591" y="19974"/>
                  </a:lnTo>
                  <a:lnTo>
                    <a:pt x="3782" y="19959"/>
                  </a:lnTo>
                  <a:lnTo>
                    <a:pt x="3973" y="19934"/>
                  </a:lnTo>
                  <a:lnTo>
                    <a:pt x="4159" y="19904"/>
                  </a:lnTo>
                  <a:lnTo>
                    <a:pt x="4340" y="19869"/>
                  </a:lnTo>
                  <a:lnTo>
                    <a:pt x="4516" y="19829"/>
                  </a:lnTo>
                  <a:lnTo>
                    <a:pt x="4686" y="19778"/>
                  </a:lnTo>
                  <a:lnTo>
                    <a:pt x="4847" y="19728"/>
                  </a:lnTo>
                  <a:lnTo>
                    <a:pt x="5008" y="19673"/>
                  </a:lnTo>
                  <a:lnTo>
                    <a:pt x="5153" y="19612"/>
                  </a:lnTo>
                  <a:lnTo>
                    <a:pt x="5299" y="19552"/>
                  </a:lnTo>
                  <a:lnTo>
                    <a:pt x="5430" y="19487"/>
                  </a:lnTo>
                  <a:lnTo>
                    <a:pt x="5556" y="19416"/>
                  </a:lnTo>
                  <a:lnTo>
                    <a:pt x="5676" y="19346"/>
                  </a:lnTo>
                  <a:lnTo>
                    <a:pt x="5676" y="19346"/>
                  </a:lnTo>
                  <a:lnTo>
                    <a:pt x="5711" y="19266"/>
                  </a:lnTo>
                  <a:lnTo>
                    <a:pt x="5741" y="19181"/>
                  </a:lnTo>
                  <a:lnTo>
                    <a:pt x="5766" y="19095"/>
                  </a:lnTo>
                  <a:lnTo>
                    <a:pt x="5791" y="19010"/>
                  </a:lnTo>
                  <a:lnTo>
                    <a:pt x="5812" y="18914"/>
                  </a:lnTo>
                  <a:lnTo>
                    <a:pt x="5827" y="18818"/>
                  </a:lnTo>
                  <a:lnTo>
                    <a:pt x="5842" y="18723"/>
                  </a:lnTo>
                  <a:lnTo>
                    <a:pt x="5852" y="18622"/>
                  </a:lnTo>
                  <a:lnTo>
                    <a:pt x="5857" y="18522"/>
                  </a:lnTo>
                  <a:lnTo>
                    <a:pt x="5857" y="18417"/>
                  </a:lnTo>
                  <a:lnTo>
                    <a:pt x="5857" y="18311"/>
                  </a:lnTo>
                  <a:lnTo>
                    <a:pt x="5852" y="18206"/>
                  </a:lnTo>
                  <a:lnTo>
                    <a:pt x="5842" y="18100"/>
                  </a:lnTo>
                  <a:lnTo>
                    <a:pt x="5832" y="17990"/>
                  </a:lnTo>
                  <a:lnTo>
                    <a:pt x="5817" y="17879"/>
                  </a:lnTo>
                  <a:lnTo>
                    <a:pt x="5796" y="17769"/>
                  </a:lnTo>
                </a:path>
              </a:pathLst>
            </a:custGeom>
            <a:noFill/>
            <a:ln w="12700">
              <a:solidFill>
                <a:schemeClr val="bg1">
                  <a:alpha val="30000"/>
                </a:schemeClr>
              </a:solidFill>
            </a:ln>
            <a:effectLst/>
          </p:spPr>
          <p:txBody>
            <a:bodyPr wrap="none" anchor="ctr"/>
            <a:lstStyle/>
            <a:p>
              <a:endParaRPr lang="en-US" sz="1709"/>
            </a:p>
          </p:txBody>
        </p:sp>
        <p:cxnSp>
          <p:nvCxnSpPr>
            <p:cNvPr id="18" name="Straight Connector 17">
              <a:extLst>
                <a:ext uri="{FF2B5EF4-FFF2-40B4-BE49-F238E27FC236}">
                  <a16:creationId xmlns:a16="http://schemas.microsoft.com/office/drawing/2014/main" id="{144CF631-195D-5742-BCE7-86133F62121F}"/>
                </a:ext>
              </a:extLst>
            </p:cNvPr>
            <p:cNvCxnSpPr>
              <a:stCxn id="9" idx="11"/>
            </p:cNvCxnSpPr>
            <p:nvPr userDrawn="1"/>
          </p:nvCxnSpPr>
          <p:spPr>
            <a:xfrm flipH="1" flipV="1">
              <a:off x="3049434" y="3435531"/>
              <a:ext cx="1379446" cy="1751"/>
            </a:xfrm>
            <a:prstGeom prst="line">
              <a:avLst/>
            </a:prstGeom>
            <a:noFill/>
            <a:ln w="12700">
              <a:solidFill>
                <a:schemeClr val="bg1">
                  <a:alpha val="30000"/>
                </a:schemeClr>
              </a:solidFill>
            </a:ln>
            <a:effectLst/>
          </p:spPr>
        </p:cxnSp>
        <p:cxnSp>
          <p:nvCxnSpPr>
            <p:cNvPr id="19" name="Straight Connector 18">
              <a:extLst>
                <a:ext uri="{FF2B5EF4-FFF2-40B4-BE49-F238E27FC236}">
                  <a16:creationId xmlns:a16="http://schemas.microsoft.com/office/drawing/2014/main" id="{C0182676-9672-1343-BA40-3F7A37BCE571}"/>
                </a:ext>
              </a:extLst>
            </p:cNvPr>
            <p:cNvCxnSpPr/>
            <p:nvPr userDrawn="1"/>
          </p:nvCxnSpPr>
          <p:spPr>
            <a:xfrm flipH="1" flipV="1">
              <a:off x="8411737" y="3435531"/>
              <a:ext cx="1379446" cy="1751"/>
            </a:xfrm>
            <a:prstGeom prst="line">
              <a:avLst/>
            </a:prstGeom>
            <a:noFill/>
            <a:ln w="12700">
              <a:solidFill>
                <a:schemeClr val="bg1">
                  <a:alpha val="30000"/>
                </a:schemeClr>
              </a:solidFill>
            </a:ln>
            <a:effectLst/>
          </p:spPr>
        </p:cxnSp>
      </p:grpSp>
    </p:spTree>
    <p:extLst>
      <p:ext uri="{BB962C8B-B14F-4D97-AF65-F5344CB8AC3E}">
        <p14:creationId xmlns:p14="http://schemas.microsoft.com/office/powerpoint/2010/main" val="304496659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Section Divider : Bright Red">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802A15F-C948-764C-B86C-5C904950A48C}"/>
              </a:ext>
            </a:extLst>
          </p:cNvPr>
          <p:cNvSpPr>
            <a:spLocks noGrp="1"/>
          </p:cNvSpPr>
          <p:nvPr userDrawn="1">
            <p:ph type="body" sz="quarter" idx="10"/>
          </p:nvPr>
        </p:nvSpPr>
        <p:spPr>
          <a:xfrm>
            <a:off x="767509" y="2079133"/>
            <a:ext cx="10656982" cy="1182734"/>
          </a:xfrm>
        </p:spPr>
        <p:txBody>
          <a:bodyPr>
            <a:normAutofit/>
          </a:bodyPr>
          <a:lstStyle>
            <a:lvl1pPr marL="0" indent="0" algn="ctr">
              <a:buNone/>
              <a:defRPr sz="5127" b="1">
                <a:solidFill>
                  <a:schemeClr val="bg1"/>
                </a:solidFill>
              </a:defRPr>
            </a:lvl1pPr>
          </a:lstStyle>
          <a:p>
            <a:pPr lvl="0"/>
            <a:r>
              <a:rPr lang="en-US"/>
              <a:t>Edit Master text styles</a:t>
            </a:r>
          </a:p>
        </p:txBody>
      </p:sp>
      <p:sp>
        <p:nvSpPr>
          <p:cNvPr id="6" name="Text Placeholder 3">
            <a:extLst>
              <a:ext uri="{FF2B5EF4-FFF2-40B4-BE49-F238E27FC236}">
                <a16:creationId xmlns:a16="http://schemas.microsoft.com/office/drawing/2014/main" id="{D05DE4B8-41A9-3147-9BFB-3C66B4CD6D89}"/>
              </a:ext>
            </a:extLst>
          </p:cNvPr>
          <p:cNvSpPr>
            <a:spLocks noGrp="1"/>
          </p:cNvSpPr>
          <p:nvPr userDrawn="1">
            <p:ph type="body" sz="quarter" idx="11"/>
          </p:nvPr>
        </p:nvSpPr>
        <p:spPr>
          <a:xfrm>
            <a:off x="767509" y="3261867"/>
            <a:ext cx="10656982" cy="1182734"/>
          </a:xfrm>
        </p:spPr>
        <p:txBody>
          <a:bodyPr>
            <a:normAutofit/>
          </a:bodyPr>
          <a:lstStyle>
            <a:lvl1pPr marL="0" indent="0" algn="ctr">
              <a:buNone/>
              <a:defRPr sz="3038" b="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94CEB44B-DDC5-8641-A07D-856C15F35C00}"/>
              </a:ext>
            </a:extLst>
          </p:cNvPr>
          <p:cNvGrpSpPr/>
          <p:nvPr userDrawn="1"/>
        </p:nvGrpSpPr>
        <p:grpSpPr>
          <a:xfrm>
            <a:off x="2895249" y="1031973"/>
            <a:ext cx="6400869" cy="4794057"/>
            <a:chOff x="3049434" y="1086914"/>
            <a:chExt cx="6741749" cy="5049296"/>
          </a:xfrm>
        </p:grpSpPr>
        <p:sp>
          <p:nvSpPr>
            <p:cNvPr id="8" name="Freeform 7">
              <a:extLst>
                <a:ext uri="{FF2B5EF4-FFF2-40B4-BE49-F238E27FC236}">
                  <a16:creationId xmlns:a16="http://schemas.microsoft.com/office/drawing/2014/main" id="{36AA2089-9E6C-7149-AF25-C7588686F223}"/>
                </a:ext>
              </a:extLst>
            </p:cNvPr>
            <p:cNvSpPr>
              <a:spLocks noChangeArrowheads="1"/>
            </p:cNvSpPr>
            <p:nvPr/>
          </p:nvSpPr>
          <p:spPr bwMode="auto">
            <a:xfrm>
              <a:off x="3693267" y="1937932"/>
              <a:ext cx="1157338" cy="3570041"/>
            </a:xfrm>
            <a:custGeom>
              <a:avLst/>
              <a:gdLst>
                <a:gd name="T0" fmla="*/ 2065 w 4583"/>
                <a:gd name="T1" fmla="*/ 14101 h 14132"/>
                <a:gd name="T2" fmla="*/ 1743 w 4583"/>
                <a:gd name="T3" fmla="*/ 13981 h 14132"/>
                <a:gd name="T4" fmla="*/ 1513 w 4583"/>
                <a:gd name="T5" fmla="*/ 13910 h 14132"/>
                <a:gd name="T6" fmla="*/ 1276 w 4583"/>
                <a:gd name="T7" fmla="*/ 13956 h 14132"/>
                <a:gd name="T8" fmla="*/ 784 w 4583"/>
                <a:gd name="T9" fmla="*/ 14036 h 14132"/>
                <a:gd name="T10" fmla="*/ 402 w 4583"/>
                <a:gd name="T11" fmla="*/ 13870 h 14132"/>
                <a:gd name="T12" fmla="*/ 166 w 4583"/>
                <a:gd name="T13" fmla="*/ 13453 h 14132"/>
                <a:gd name="T14" fmla="*/ 30 w 4583"/>
                <a:gd name="T15" fmla="*/ 12956 h 14132"/>
                <a:gd name="T16" fmla="*/ 0 w 4583"/>
                <a:gd name="T17" fmla="*/ 12378 h 14132"/>
                <a:gd name="T18" fmla="*/ 166 w 4583"/>
                <a:gd name="T19" fmla="*/ 7049 h 14132"/>
                <a:gd name="T20" fmla="*/ 60 w 4583"/>
                <a:gd name="T21" fmla="*/ 6762 h 14132"/>
                <a:gd name="T22" fmla="*/ 51 w 4583"/>
                <a:gd name="T23" fmla="*/ 6445 h 14132"/>
                <a:gd name="T24" fmla="*/ 256 w 4583"/>
                <a:gd name="T25" fmla="*/ 5793 h 14132"/>
                <a:gd name="T26" fmla="*/ 272 w 4583"/>
                <a:gd name="T27" fmla="*/ 5667 h 14132"/>
                <a:gd name="T28" fmla="*/ 116 w 4583"/>
                <a:gd name="T29" fmla="*/ 5396 h 14132"/>
                <a:gd name="T30" fmla="*/ 71 w 4583"/>
                <a:gd name="T31" fmla="*/ 4969 h 14132"/>
                <a:gd name="T32" fmla="*/ 116 w 4583"/>
                <a:gd name="T33" fmla="*/ 4522 h 14132"/>
                <a:gd name="T34" fmla="*/ 910 w 4583"/>
                <a:gd name="T35" fmla="*/ 2708 h 14132"/>
                <a:gd name="T36" fmla="*/ 1261 w 4583"/>
                <a:gd name="T37" fmla="*/ 2155 h 14132"/>
                <a:gd name="T38" fmla="*/ 1412 w 4583"/>
                <a:gd name="T39" fmla="*/ 1884 h 14132"/>
                <a:gd name="T40" fmla="*/ 1467 w 4583"/>
                <a:gd name="T41" fmla="*/ 1568 h 14132"/>
                <a:gd name="T42" fmla="*/ 1492 w 4583"/>
                <a:gd name="T43" fmla="*/ 1065 h 14132"/>
                <a:gd name="T44" fmla="*/ 1452 w 4583"/>
                <a:gd name="T45" fmla="*/ 879 h 14132"/>
                <a:gd name="T46" fmla="*/ 1367 w 4583"/>
                <a:gd name="T47" fmla="*/ 699 h 14132"/>
                <a:gd name="T48" fmla="*/ 1382 w 4583"/>
                <a:gd name="T49" fmla="*/ 302 h 14132"/>
                <a:gd name="T50" fmla="*/ 1447 w 4583"/>
                <a:gd name="T51" fmla="*/ 146 h 14132"/>
                <a:gd name="T52" fmla="*/ 1558 w 4583"/>
                <a:gd name="T53" fmla="*/ 81 h 14132"/>
                <a:gd name="T54" fmla="*/ 2291 w 4583"/>
                <a:gd name="T55" fmla="*/ 0 h 14132"/>
                <a:gd name="T56" fmla="*/ 3025 w 4583"/>
                <a:gd name="T57" fmla="*/ 81 h 14132"/>
                <a:gd name="T58" fmla="*/ 3115 w 4583"/>
                <a:gd name="T59" fmla="*/ 131 h 14132"/>
                <a:gd name="T60" fmla="*/ 3175 w 4583"/>
                <a:gd name="T61" fmla="*/ 216 h 14132"/>
                <a:gd name="T62" fmla="*/ 3226 w 4583"/>
                <a:gd name="T63" fmla="*/ 623 h 14132"/>
                <a:gd name="T64" fmla="*/ 3150 w 4583"/>
                <a:gd name="T65" fmla="*/ 859 h 14132"/>
                <a:gd name="T66" fmla="*/ 3095 w 4583"/>
                <a:gd name="T67" fmla="*/ 1000 h 14132"/>
                <a:gd name="T68" fmla="*/ 3110 w 4583"/>
                <a:gd name="T69" fmla="*/ 1537 h 14132"/>
                <a:gd name="T70" fmla="*/ 3150 w 4583"/>
                <a:gd name="T71" fmla="*/ 1809 h 14132"/>
                <a:gd name="T72" fmla="*/ 3321 w 4583"/>
                <a:gd name="T73" fmla="*/ 2155 h 14132"/>
                <a:gd name="T74" fmla="*/ 3602 w 4583"/>
                <a:gd name="T75" fmla="*/ 2577 h 14132"/>
                <a:gd name="T76" fmla="*/ 4175 w 4583"/>
                <a:gd name="T77" fmla="*/ 3808 h 14132"/>
                <a:gd name="T78" fmla="*/ 4512 w 4583"/>
                <a:gd name="T79" fmla="*/ 4858 h 14132"/>
                <a:gd name="T80" fmla="*/ 4467 w 4583"/>
                <a:gd name="T81" fmla="*/ 5396 h 14132"/>
                <a:gd name="T82" fmla="*/ 4316 w 4583"/>
                <a:gd name="T83" fmla="*/ 5637 h 14132"/>
                <a:gd name="T84" fmla="*/ 4326 w 4583"/>
                <a:gd name="T85" fmla="*/ 5793 h 14132"/>
                <a:gd name="T86" fmla="*/ 4522 w 4583"/>
                <a:gd name="T87" fmla="*/ 6375 h 14132"/>
                <a:gd name="T88" fmla="*/ 4532 w 4583"/>
                <a:gd name="T89" fmla="*/ 6702 h 14132"/>
                <a:gd name="T90" fmla="*/ 4446 w 4583"/>
                <a:gd name="T91" fmla="*/ 6993 h 14132"/>
                <a:gd name="T92" fmla="*/ 4582 w 4583"/>
                <a:gd name="T93" fmla="*/ 12378 h 14132"/>
                <a:gd name="T94" fmla="*/ 4567 w 4583"/>
                <a:gd name="T95" fmla="*/ 12845 h 14132"/>
                <a:gd name="T96" fmla="*/ 4451 w 4583"/>
                <a:gd name="T97" fmla="*/ 13358 h 14132"/>
                <a:gd name="T98" fmla="*/ 4235 w 4583"/>
                <a:gd name="T99" fmla="*/ 13790 h 14132"/>
                <a:gd name="T100" fmla="*/ 3904 w 4583"/>
                <a:gd name="T101" fmla="*/ 14015 h 14132"/>
                <a:gd name="T102" fmla="*/ 3401 w 4583"/>
                <a:gd name="T103" fmla="*/ 13996 h 14132"/>
                <a:gd name="T104" fmla="*/ 3130 w 4583"/>
                <a:gd name="T105" fmla="*/ 13910 h 14132"/>
                <a:gd name="T106" fmla="*/ 2838 w 4583"/>
                <a:gd name="T107" fmla="*/ 13981 h 14132"/>
                <a:gd name="T108" fmla="*/ 2587 w 4583"/>
                <a:gd name="T109" fmla="*/ 14086 h 1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83" h="14132">
                  <a:moveTo>
                    <a:pt x="2291" y="14131"/>
                  </a:moveTo>
                  <a:lnTo>
                    <a:pt x="2291" y="14131"/>
                  </a:lnTo>
                  <a:lnTo>
                    <a:pt x="2216" y="14127"/>
                  </a:lnTo>
                  <a:lnTo>
                    <a:pt x="2140" y="14116"/>
                  </a:lnTo>
                  <a:lnTo>
                    <a:pt x="2065" y="14101"/>
                  </a:lnTo>
                  <a:lnTo>
                    <a:pt x="1994" y="14086"/>
                  </a:lnTo>
                  <a:lnTo>
                    <a:pt x="1930" y="14066"/>
                  </a:lnTo>
                  <a:lnTo>
                    <a:pt x="1864" y="14041"/>
                  </a:lnTo>
                  <a:lnTo>
                    <a:pt x="1799" y="14011"/>
                  </a:lnTo>
                  <a:lnTo>
                    <a:pt x="1743" y="13981"/>
                  </a:lnTo>
                  <a:lnTo>
                    <a:pt x="1743" y="13981"/>
                  </a:lnTo>
                  <a:lnTo>
                    <a:pt x="1688" y="13951"/>
                  </a:lnTo>
                  <a:lnTo>
                    <a:pt x="1633" y="13931"/>
                  </a:lnTo>
                  <a:lnTo>
                    <a:pt x="1572" y="13915"/>
                  </a:lnTo>
                  <a:lnTo>
                    <a:pt x="1513" y="13910"/>
                  </a:lnTo>
                  <a:lnTo>
                    <a:pt x="1452" y="13910"/>
                  </a:lnTo>
                  <a:lnTo>
                    <a:pt x="1392" y="13920"/>
                  </a:lnTo>
                  <a:lnTo>
                    <a:pt x="1332" y="13935"/>
                  </a:lnTo>
                  <a:lnTo>
                    <a:pt x="1276" y="13956"/>
                  </a:lnTo>
                  <a:lnTo>
                    <a:pt x="1276" y="13956"/>
                  </a:lnTo>
                  <a:lnTo>
                    <a:pt x="1181" y="13996"/>
                  </a:lnTo>
                  <a:lnTo>
                    <a:pt x="1086" y="14026"/>
                  </a:lnTo>
                  <a:lnTo>
                    <a:pt x="985" y="14041"/>
                  </a:lnTo>
                  <a:lnTo>
                    <a:pt x="884" y="14046"/>
                  </a:lnTo>
                  <a:lnTo>
                    <a:pt x="784" y="14036"/>
                  </a:lnTo>
                  <a:lnTo>
                    <a:pt x="678" y="14015"/>
                  </a:lnTo>
                  <a:lnTo>
                    <a:pt x="568" y="13986"/>
                  </a:lnTo>
                  <a:lnTo>
                    <a:pt x="462" y="13940"/>
                  </a:lnTo>
                  <a:lnTo>
                    <a:pt x="462" y="13940"/>
                  </a:lnTo>
                  <a:lnTo>
                    <a:pt x="402" y="13870"/>
                  </a:lnTo>
                  <a:lnTo>
                    <a:pt x="347" y="13790"/>
                  </a:lnTo>
                  <a:lnTo>
                    <a:pt x="297" y="13709"/>
                  </a:lnTo>
                  <a:lnTo>
                    <a:pt x="247" y="13629"/>
                  </a:lnTo>
                  <a:lnTo>
                    <a:pt x="206" y="13543"/>
                  </a:lnTo>
                  <a:lnTo>
                    <a:pt x="166" y="13453"/>
                  </a:lnTo>
                  <a:lnTo>
                    <a:pt x="131" y="13358"/>
                  </a:lnTo>
                  <a:lnTo>
                    <a:pt x="101" y="13262"/>
                  </a:lnTo>
                  <a:lnTo>
                    <a:pt x="71" y="13162"/>
                  </a:lnTo>
                  <a:lnTo>
                    <a:pt x="51" y="13061"/>
                  </a:lnTo>
                  <a:lnTo>
                    <a:pt x="30" y="12956"/>
                  </a:lnTo>
                  <a:lnTo>
                    <a:pt x="15" y="12845"/>
                  </a:lnTo>
                  <a:lnTo>
                    <a:pt x="5" y="12735"/>
                  </a:lnTo>
                  <a:lnTo>
                    <a:pt x="0" y="12619"/>
                  </a:lnTo>
                  <a:lnTo>
                    <a:pt x="0" y="12498"/>
                  </a:lnTo>
                  <a:lnTo>
                    <a:pt x="0" y="12378"/>
                  </a:lnTo>
                  <a:lnTo>
                    <a:pt x="231" y="11805"/>
                  </a:lnTo>
                  <a:lnTo>
                    <a:pt x="231" y="7153"/>
                  </a:lnTo>
                  <a:lnTo>
                    <a:pt x="231" y="7153"/>
                  </a:lnTo>
                  <a:lnTo>
                    <a:pt x="196" y="7099"/>
                  </a:lnTo>
                  <a:lnTo>
                    <a:pt x="166" y="7049"/>
                  </a:lnTo>
                  <a:lnTo>
                    <a:pt x="141" y="6993"/>
                  </a:lnTo>
                  <a:lnTo>
                    <a:pt x="116" y="6938"/>
                  </a:lnTo>
                  <a:lnTo>
                    <a:pt x="96" y="6883"/>
                  </a:lnTo>
                  <a:lnTo>
                    <a:pt x="76" y="6822"/>
                  </a:lnTo>
                  <a:lnTo>
                    <a:pt x="60" y="6762"/>
                  </a:lnTo>
                  <a:lnTo>
                    <a:pt x="55" y="6702"/>
                  </a:lnTo>
                  <a:lnTo>
                    <a:pt x="46" y="6641"/>
                  </a:lnTo>
                  <a:lnTo>
                    <a:pt x="46" y="6576"/>
                  </a:lnTo>
                  <a:lnTo>
                    <a:pt x="46" y="6511"/>
                  </a:lnTo>
                  <a:lnTo>
                    <a:pt x="51" y="6445"/>
                  </a:lnTo>
                  <a:lnTo>
                    <a:pt x="60" y="6375"/>
                  </a:lnTo>
                  <a:lnTo>
                    <a:pt x="76" y="6305"/>
                  </a:lnTo>
                  <a:lnTo>
                    <a:pt x="96" y="6235"/>
                  </a:lnTo>
                  <a:lnTo>
                    <a:pt x="116" y="6160"/>
                  </a:lnTo>
                  <a:lnTo>
                    <a:pt x="256" y="5793"/>
                  </a:lnTo>
                  <a:lnTo>
                    <a:pt x="256" y="5793"/>
                  </a:lnTo>
                  <a:lnTo>
                    <a:pt x="267" y="5763"/>
                  </a:lnTo>
                  <a:lnTo>
                    <a:pt x="272" y="5732"/>
                  </a:lnTo>
                  <a:lnTo>
                    <a:pt x="277" y="5702"/>
                  </a:lnTo>
                  <a:lnTo>
                    <a:pt x="272" y="5667"/>
                  </a:lnTo>
                  <a:lnTo>
                    <a:pt x="267" y="5637"/>
                  </a:lnTo>
                  <a:lnTo>
                    <a:pt x="256" y="5607"/>
                  </a:lnTo>
                  <a:lnTo>
                    <a:pt x="247" y="5576"/>
                  </a:lnTo>
                  <a:lnTo>
                    <a:pt x="226" y="5551"/>
                  </a:lnTo>
                  <a:lnTo>
                    <a:pt x="116" y="5396"/>
                  </a:lnTo>
                  <a:lnTo>
                    <a:pt x="116" y="5396"/>
                  </a:lnTo>
                  <a:lnTo>
                    <a:pt x="96" y="5290"/>
                  </a:lnTo>
                  <a:lnTo>
                    <a:pt x="80" y="5185"/>
                  </a:lnTo>
                  <a:lnTo>
                    <a:pt x="71" y="5079"/>
                  </a:lnTo>
                  <a:lnTo>
                    <a:pt x="71" y="4969"/>
                  </a:lnTo>
                  <a:lnTo>
                    <a:pt x="71" y="4858"/>
                  </a:lnTo>
                  <a:lnTo>
                    <a:pt x="80" y="4748"/>
                  </a:lnTo>
                  <a:lnTo>
                    <a:pt x="96" y="4632"/>
                  </a:lnTo>
                  <a:lnTo>
                    <a:pt x="116" y="4522"/>
                  </a:lnTo>
                  <a:lnTo>
                    <a:pt x="116" y="4522"/>
                  </a:lnTo>
                  <a:lnTo>
                    <a:pt x="407" y="3808"/>
                  </a:lnTo>
                  <a:lnTo>
                    <a:pt x="553" y="3466"/>
                  </a:lnTo>
                  <a:lnTo>
                    <a:pt x="694" y="3145"/>
                  </a:lnTo>
                  <a:lnTo>
                    <a:pt x="840" y="2848"/>
                  </a:lnTo>
                  <a:lnTo>
                    <a:pt x="910" y="2708"/>
                  </a:lnTo>
                  <a:lnTo>
                    <a:pt x="980" y="2577"/>
                  </a:lnTo>
                  <a:lnTo>
                    <a:pt x="1050" y="2457"/>
                  </a:lnTo>
                  <a:lnTo>
                    <a:pt x="1121" y="2346"/>
                  </a:lnTo>
                  <a:lnTo>
                    <a:pt x="1191" y="2246"/>
                  </a:lnTo>
                  <a:lnTo>
                    <a:pt x="1261" y="2155"/>
                  </a:lnTo>
                  <a:lnTo>
                    <a:pt x="1261" y="2155"/>
                  </a:lnTo>
                  <a:lnTo>
                    <a:pt x="1312" y="2090"/>
                  </a:lnTo>
                  <a:lnTo>
                    <a:pt x="1351" y="2025"/>
                  </a:lnTo>
                  <a:lnTo>
                    <a:pt x="1382" y="1954"/>
                  </a:lnTo>
                  <a:lnTo>
                    <a:pt x="1412" y="1884"/>
                  </a:lnTo>
                  <a:lnTo>
                    <a:pt x="1432" y="1809"/>
                  </a:lnTo>
                  <a:lnTo>
                    <a:pt x="1452" y="1733"/>
                  </a:lnTo>
                  <a:lnTo>
                    <a:pt x="1462" y="1653"/>
                  </a:lnTo>
                  <a:lnTo>
                    <a:pt x="1467" y="1568"/>
                  </a:lnTo>
                  <a:lnTo>
                    <a:pt x="1467" y="1568"/>
                  </a:lnTo>
                  <a:lnTo>
                    <a:pt x="1472" y="1537"/>
                  </a:lnTo>
                  <a:lnTo>
                    <a:pt x="1477" y="1472"/>
                  </a:lnTo>
                  <a:lnTo>
                    <a:pt x="1482" y="1301"/>
                  </a:lnTo>
                  <a:lnTo>
                    <a:pt x="1492" y="1065"/>
                  </a:lnTo>
                  <a:lnTo>
                    <a:pt x="1492" y="1065"/>
                  </a:lnTo>
                  <a:lnTo>
                    <a:pt x="1487" y="1000"/>
                  </a:lnTo>
                  <a:lnTo>
                    <a:pt x="1487" y="965"/>
                  </a:lnTo>
                  <a:lnTo>
                    <a:pt x="1477" y="934"/>
                  </a:lnTo>
                  <a:lnTo>
                    <a:pt x="1467" y="904"/>
                  </a:lnTo>
                  <a:lnTo>
                    <a:pt x="1452" y="879"/>
                  </a:lnTo>
                  <a:lnTo>
                    <a:pt x="1432" y="859"/>
                  </a:lnTo>
                  <a:lnTo>
                    <a:pt x="1407" y="839"/>
                  </a:lnTo>
                  <a:lnTo>
                    <a:pt x="1407" y="839"/>
                  </a:lnTo>
                  <a:lnTo>
                    <a:pt x="1382" y="769"/>
                  </a:lnTo>
                  <a:lnTo>
                    <a:pt x="1367" y="699"/>
                  </a:lnTo>
                  <a:lnTo>
                    <a:pt x="1357" y="623"/>
                  </a:lnTo>
                  <a:lnTo>
                    <a:pt x="1351" y="548"/>
                  </a:lnTo>
                  <a:lnTo>
                    <a:pt x="1351" y="467"/>
                  </a:lnTo>
                  <a:lnTo>
                    <a:pt x="1367" y="387"/>
                  </a:lnTo>
                  <a:lnTo>
                    <a:pt x="1382" y="302"/>
                  </a:lnTo>
                  <a:lnTo>
                    <a:pt x="1407" y="216"/>
                  </a:lnTo>
                  <a:lnTo>
                    <a:pt x="1407" y="216"/>
                  </a:lnTo>
                  <a:lnTo>
                    <a:pt x="1417" y="191"/>
                  </a:lnTo>
                  <a:lnTo>
                    <a:pt x="1432" y="171"/>
                  </a:lnTo>
                  <a:lnTo>
                    <a:pt x="1447" y="146"/>
                  </a:lnTo>
                  <a:lnTo>
                    <a:pt x="1467" y="131"/>
                  </a:lnTo>
                  <a:lnTo>
                    <a:pt x="1487" y="110"/>
                  </a:lnTo>
                  <a:lnTo>
                    <a:pt x="1508" y="101"/>
                  </a:lnTo>
                  <a:lnTo>
                    <a:pt x="1533" y="90"/>
                  </a:lnTo>
                  <a:lnTo>
                    <a:pt x="1558" y="81"/>
                  </a:lnTo>
                  <a:lnTo>
                    <a:pt x="1558" y="81"/>
                  </a:lnTo>
                  <a:lnTo>
                    <a:pt x="1723" y="55"/>
                  </a:lnTo>
                  <a:lnTo>
                    <a:pt x="1894" y="30"/>
                  </a:lnTo>
                  <a:lnTo>
                    <a:pt x="2085" y="15"/>
                  </a:lnTo>
                  <a:lnTo>
                    <a:pt x="2291" y="0"/>
                  </a:lnTo>
                  <a:lnTo>
                    <a:pt x="2291" y="0"/>
                  </a:lnTo>
                  <a:lnTo>
                    <a:pt x="2497" y="15"/>
                  </a:lnTo>
                  <a:lnTo>
                    <a:pt x="2688" y="30"/>
                  </a:lnTo>
                  <a:lnTo>
                    <a:pt x="2859" y="55"/>
                  </a:lnTo>
                  <a:lnTo>
                    <a:pt x="3025" y="81"/>
                  </a:lnTo>
                  <a:lnTo>
                    <a:pt x="3025" y="81"/>
                  </a:lnTo>
                  <a:lnTo>
                    <a:pt x="3050" y="90"/>
                  </a:lnTo>
                  <a:lnTo>
                    <a:pt x="3075" y="101"/>
                  </a:lnTo>
                  <a:lnTo>
                    <a:pt x="3095" y="110"/>
                  </a:lnTo>
                  <a:lnTo>
                    <a:pt x="3115" y="131"/>
                  </a:lnTo>
                  <a:lnTo>
                    <a:pt x="3135" y="146"/>
                  </a:lnTo>
                  <a:lnTo>
                    <a:pt x="3150" y="171"/>
                  </a:lnTo>
                  <a:lnTo>
                    <a:pt x="3165" y="191"/>
                  </a:lnTo>
                  <a:lnTo>
                    <a:pt x="3175" y="216"/>
                  </a:lnTo>
                  <a:lnTo>
                    <a:pt x="3175" y="216"/>
                  </a:lnTo>
                  <a:lnTo>
                    <a:pt x="3201" y="302"/>
                  </a:lnTo>
                  <a:lnTo>
                    <a:pt x="3221" y="387"/>
                  </a:lnTo>
                  <a:lnTo>
                    <a:pt x="3230" y="467"/>
                  </a:lnTo>
                  <a:lnTo>
                    <a:pt x="3230" y="548"/>
                  </a:lnTo>
                  <a:lnTo>
                    <a:pt x="3226" y="623"/>
                  </a:lnTo>
                  <a:lnTo>
                    <a:pt x="3215" y="699"/>
                  </a:lnTo>
                  <a:lnTo>
                    <a:pt x="3201" y="769"/>
                  </a:lnTo>
                  <a:lnTo>
                    <a:pt x="3175" y="839"/>
                  </a:lnTo>
                  <a:lnTo>
                    <a:pt x="3175" y="839"/>
                  </a:lnTo>
                  <a:lnTo>
                    <a:pt x="3150" y="859"/>
                  </a:lnTo>
                  <a:lnTo>
                    <a:pt x="3130" y="879"/>
                  </a:lnTo>
                  <a:lnTo>
                    <a:pt x="3115" y="904"/>
                  </a:lnTo>
                  <a:lnTo>
                    <a:pt x="3105" y="934"/>
                  </a:lnTo>
                  <a:lnTo>
                    <a:pt x="3095" y="965"/>
                  </a:lnTo>
                  <a:lnTo>
                    <a:pt x="3095" y="1000"/>
                  </a:lnTo>
                  <a:lnTo>
                    <a:pt x="3095" y="1065"/>
                  </a:lnTo>
                  <a:lnTo>
                    <a:pt x="3095" y="1065"/>
                  </a:lnTo>
                  <a:lnTo>
                    <a:pt x="3100" y="1301"/>
                  </a:lnTo>
                  <a:lnTo>
                    <a:pt x="3105" y="1472"/>
                  </a:lnTo>
                  <a:lnTo>
                    <a:pt x="3110" y="1537"/>
                  </a:lnTo>
                  <a:lnTo>
                    <a:pt x="3115" y="1568"/>
                  </a:lnTo>
                  <a:lnTo>
                    <a:pt x="3115" y="1568"/>
                  </a:lnTo>
                  <a:lnTo>
                    <a:pt x="3120" y="1653"/>
                  </a:lnTo>
                  <a:lnTo>
                    <a:pt x="3130" y="1733"/>
                  </a:lnTo>
                  <a:lnTo>
                    <a:pt x="3150" y="1809"/>
                  </a:lnTo>
                  <a:lnTo>
                    <a:pt x="3170" y="1884"/>
                  </a:lnTo>
                  <a:lnTo>
                    <a:pt x="3201" y="1954"/>
                  </a:lnTo>
                  <a:lnTo>
                    <a:pt x="3230" y="2025"/>
                  </a:lnTo>
                  <a:lnTo>
                    <a:pt x="3276" y="2090"/>
                  </a:lnTo>
                  <a:lnTo>
                    <a:pt x="3321" y="2155"/>
                  </a:lnTo>
                  <a:lnTo>
                    <a:pt x="3321" y="2155"/>
                  </a:lnTo>
                  <a:lnTo>
                    <a:pt x="3391" y="2246"/>
                  </a:lnTo>
                  <a:lnTo>
                    <a:pt x="3461" y="2346"/>
                  </a:lnTo>
                  <a:lnTo>
                    <a:pt x="3532" y="2457"/>
                  </a:lnTo>
                  <a:lnTo>
                    <a:pt x="3602" y="2577"/>
                  </a:lnTo>
                  <a:lnTo>
                    <a:pt x="3673" y="2708"/>
                  </a:lnTo>
                  <a:lnTo>
                    <a:pt x="3743" y="2848"/>
                  </a:lnTo>
                  <a:lnTo>
                    <a:pt x="3889" y="3145"/>
                  </a:lnTo>
                  <a:lnTo>
                    <a:pt x="4029" y="3466"/>
                  </a:lnTo>
                  <a:lnTo>
                    <a:pt x="4175" y="3808"/>
                  </a:lnTo>
                  <a:lnTo>
                    <a:pt x="4467" y="4522"/>
                  </a:lnTo>
                  <a:lnTo>
                    <a:pt x="4467" y="4522"/>
                  </a:lnTo>
                  <a:lnTo>
                    <a:pt x="4487" y="4632"/>
                  </a:lnTo>
                  <a:lnTo>
                    <a:pt x="4501" y="4748"/>
                  </a:lnTo>
                  <a:lnTo>
                    <a:pt x="4512" y="4858"/>
                  </a:lnTo>
                  <a:lnTo>
                    <a:pt x="4512" y="4969"/>
                  </a:lnTo>
                  <a:lnTo>
                    <a:pt x="4512" y="5079"/>
                  </a:lnTo>
                  <a:lnTo>
                    <a:pt x="4501" y="5185"/>
                  </a:lnTo>
                  <a:lnTo>
                    <a:pt x="4487" y="5290"/>
                  </a:lnTo>
                  <a:lnTo>
                    <a:pt x="4467" y="5396"/>
                  </a:lnTo>
                  <a:lnTo>
                    <a:pt x="4356" y="5551"/>
                  </a:lnTo>
                  <a:lnTo>
                    <a:pt x="4356" y="5551"/>
                  </a:lnTo>
                  <a:lnTo>
                    <a:pt x="4341" y="5576"/>
                  </a:lnTo>
                  <a:lnTo>
                    <a:pt x="4326" y="5607"/>
                  </a:lnTo>
                  <a:lnTo>
                    <a:pt x="4316" y="5637"/>
                  </a:lnTo>
                  <a:lnTo>
                    <a:pt x="4311" y="5667"/>
                  </a:lnTo>
                  <a:lnTo>
                    <a:pt x="4305" y="5702"/>
                  </a:lnTo>
                  <a:lnTo>
                    <a:pt x="4311" y="5732"/>
                  </a:lnTo>
                  <a:lnTo>
                    <a:pt x="4316" y="5763"/>
                  </a:lnTo>
                  <a:lnTo>
                    <a:pt x="4326" y="5793"/>
                  </a:lnTo>
                  <a:lnTo>
                    <a:pt x="4467" y="6160"/>
                  </a:lnTo>
                  <a:lnTo>
                    <a:pt x="4467" y="6160"/>
                  </a:lnTo>
                  <a:lnTo>
                    <a:pt x="4487" y="6235"/>
                  </a:lnTo>
                  <a:lnTo>
                    <a:pt x="4506" y="6305"/>
                  </a:lnTo>
                  <a:lnTo>
                    <a:pt x="4522" y="6375"/>
                  </a:lnTo>
                  <a:lnTo>
                    <a:pt x="4532" y="6445"/>
                  </a:lnTo>
                  <a:lnTo>
                    <a:pt x="4537" y="6511"/>
                  </a:lnTo>
                  <a:lnTo>
                    <a:pt x="4537" y="6576"/>
                  </a:lnTo>
                  <a:lnTo>
                    <a:pt x="4537" y="6641"/>
                  </a:lnTo>
                  <a:lnTo>
                    <a:pt x="4532" y="6702"/>
                  </a:lnTo>
                  <a:lnTo>
                    <a:pt x="4522" y="6762"/>
                  </a:lnTo>
                  <a:lnTo>
                    <a:pt x="4506" y="6822"/>
                  </a:lnTo>
                  <a:lnTo>
                    <a:pt x="4487" y="6883"/>
                  </a:lnTo>
                  <a:lnTo>
                    <a:pt x="4467" y="6938"/>
                  </a:lnTo>
                  <a:lnTo>
                    <a:pt x="4446" y="6993"/>
                  </a:lnTo>
                  <a:lnTo>
                    <a:pt x="4416" y="7049"/>
                  </a:lnTo>
                  <a:lnTo>
                    <a:pt x="4386" y="7099"/>
                  </a:lnTo>
                  <a:lnTo>
                    <a:pt x="4351" y="7153"/>
                  </a:lnTo>
                  <a:lnTo>
                    <a:pt x="4351" y="11805"/>
                  </a:lnTo>
                  <a:lnTo>
                    <a:pt x="4582" y="12378"/>
                  </a:lnTo>
                  <a:lnTo>
                    <a:pt x="4582" y="12378"/>
                  </a:lnTo>
                  <a:lnTo>
                    <a:pt x="4582" y="12498"/>
                  </a:lnTo>
                  <a:lnTo>
                    <a:pt x="4582" y="12619"/>
                  </a:lnTo>
                  <a:lnTo>
                    <a:pt x="4577" y="12735"/>
                  </a:lnTo>
                  <a:lnTo>
                    <a:pt x="4567" y="12845"/>
                  </a:lnTo>
                  <a:lnTo>
                    <a:pt x="4552" y="12956"/>
                  </a:lnTo>
                  <a:lnTo>
                    <a:pt x="4532" y="13061"/>
                  </a:lnTo>
                  <a:lnTo>
                    <a:pt x="4512" y="13162"/>
                  </a:lnTo>
                  <a:lnTo>
                    <a:pt x="4481" y="13262"/>
                  </a:lnTo>
                  <a:lnTo>
                    <a:pt x="4451" y="13358"/>
                  </a:lnTo>
                  <a:lnTo>
                    <a:pt x="4416" y="13453"/>
                  </a:lnTo>
                  <a:lnTo>
                    <a:pt x="4376" y="13543"/>
                  </a:lnTo>
                  <a:lnTo>
                    <a:pt x="4336" y="13629"/>
                  </a:lnTo>
                  <a:lnTo>
                    <a:pt x="4291" y="13709"/>
                  </a:lnTo>
                  <a:lnTo>
                    <a:pt x="4235" y="13790"/>
                  </a:lnTo>
                  <a:lnTo>
                    <a:pt x="4180" y="13870"/>
                  </a:lnTo>
                  <a:lnTo>
                    <a:pt x="4125" y="13940"/>
                  </a:lnTo>
                  <a:lnTo>
                    <a:pt x="4125" y="13940"/>
                  </a:lnTo>
                  <a:lnTo>
                    <a:pt x="4014" y="13986"/>
                  </a:lnTo>
                  <a:lnTo>
                    <a:pt x="3904" y="14015"/>
                  </a:lnTo>
                  <a:lnTo>
                    <a:pt x="3798" y="14036"/>
                  </a:lnTo>
                  <a:lnTo>
                    <a:pt x="3698" y="14046"/>
                  </a:lnTo>
                  <a:lnTo>
                    <a:pt x="3597" y="14041"/>
                  </a:lnTo>
                  <a:lnTo>
                    <a:pt x="3497" y="14026"/>
                  </a:lnTo>
                  <a:lnTo>
                    <a:pt x="3401" y="13996"/>
                  </a:lnTo>
                  <a:lnTo>
                    <a:pt x="3306" y="13956"/>
                  </a:lnTo>
                  <a:lnTo>
                    <a:pt x="3306" y="13956"/>
                  </a:lnTo>
                  <a:lnTo>
                    <a:pt x="3251" y="13935"/>
                  </a:lnTo>
                  <a:lnTo>
                    <a:pt x="3190" y="13920"/>
                  </a:lnTo>
                  <a:lnTo>
                    <a:pt x="3130" y="13910"/>
                  </a:lnTo>
                  <a:lnTo>
                    <a:pt x="3070" y="13910"/>
                  </a:lnTo>
                  <a:lnTo>
                    <a:pt x="3009" y="13915"/>
                  </a:lnTo>
                  <a:lnTo>
                    <a:pt x="2954" y="13931"/>
                  </a:lnTo>
                  <a:lnTo>
                    <a:pt x="2894" y="13951"/>
                  </a:lnTo>
                  <a:lnTo>
                    <a:pt x="2838" y="13981"/>
                  </a:lnTo>
                  <a:lnTo>
                    <a:pt x="2838" y="13981"/>
                  </a:lnTo>
                  <a:lnTo>
                    <a:pt x="2783" y="14011"/>
                  </a:lnTo>
                  <a:lnTo>
                    <a:pt x="2718" y="14041"/>
                  </a:lnTo>
                  <a:lnTo>
                    <a:pt x="2653" y="14066"/>
                  </a:lnTo>
                  <a:lnTo>
                    <a:pt x="2587" y="14086"/>
                  </a:lnTo>
                  <a:lnTo>
                    <a:pt x="2517" y="14101"/>
                  </a:lnTo>
                  <a:lnTo>
                    <a:pt x="2442" y="14116"/>
                  </a:lnTo>
                  <a:lnTo>
                    <a:pt x="2366" y="14127"/>
                  </a:lnTo>
                  <a:lnTo>
                    <a:pt x="2291" y="14131"/>
                  </a:lnTo>
                </a:path>
              </a:pathLst>
            </a:custGeom>
            <a:noFill/>
            <a:ln w="12700">
              <a:solidFill>
                <a:schemeClr val="bg1">
                  <a:alpha val="30000"/>
                </a:schemeClr>
              </a:solidFill>
            </a:ln>
            <a:effectLst/>
          </p:spPr>
          <p:txBody>
            <a:bodyPr wrap="none" anchor="ctr"/>
            <a:lstStyle/>
            <a:p>
              <a:endParaRPr lang="en-US" sz="1709"/>
            </a:p>
          </p:txBody>
        </p:sp>
        <p:sp>
          <p:nvSpPr>
            <p:cNvPr id="9" name="Freeform 8">
              <a:extLst>
                <a:ext uri="{FF2B5EF4-FFF2-40B4-BE49-F238E27FC236}">
                  <a16:creationId xmlns:a16="http://schemas.microsoft.com/office/drawing/2014/main" id="{B6AB1E3A-EE4F-1744-8651-378A4A59ED36}"/>
                </a:ext>
              </a:extLst>
            </p:cNvPr>
            <p:cNvSpPr>
              <a:spLocks noChangeArrowheads="1"/>
            </p:cNvSpPr>
            <p:nvPr/>
          </p:nvSpPr>
          <p:spPr bwMode="auto">
            <a:xfrm>
              <a:off x="4351579" y="1604875"/>
              <a:ext cx="1137289" cy="4054585"/>
            </a:xfrm>
            <a:custGeom>
              <a:avLst/>
              <a:gdLst>
                <a:gd name="T0" fmla="*/ 1753 w 4502"/>
                <a:gd name="T1" fmla="*/ 15970 h 16051"/>
                <a:gd name="T2" fmla="*/ 1291 w 4502"/>
                <a:gd name="T3" fmla="*/ 15734 h 16051"/>
                <a:gd name="T4" fmla="*/ 1009 w 4502"/>
                <a:gd name="T5" fmla="*/ 15754 h 16051"/>
                <a:gd name="T6" fmla="*/ 803 w 4502"/>
                <a:gd name="T7" fmla="*/ 15899 h 16051"/>
                <a:gd name="T8" fmla="*/ 593 w 4502"/>
                <a:gd name="T9" fmla="*/ 15924 h 16051"/>
                <a:gd name="T10" fmla="*/ 406 w 4502"/>
                <a:gd name="T11" fmla="*/ 15819 h 16051"/>
                <a:gd name="T12" fmla="*/ 241 w 4502"/>
                <a:gd name="T13" fmla="*/ 15488 h 16051"/>
                <a:gd name="T14" fmla="*/ 45 w 4502"/>
                <a:gd name="T15" fmla="*/ 14548 h 16051"/>
                <a:gd name="T16" fmla="*/ 45 w 4502"/>
                <a:gd name="T17" fmla="*/ 13714 h 16051"/>
                <a:gd name="T18" fmla="*/ 100 w 4502"/>
                <a:gd name="T19" fmla="*/ 9177 h 16051"/>
                <a:gd name="T20" fmla="*/ 100 w 4502"/>
                <a:gd name="T21" fmla="*/ 8128 h 16051"/>
                <a:gd name="T22" fmla="*/ 306 w 4502"/>
                <a:gd name="T23" fmla="*/ 7254 h 16051"/>
                <a:gd name="T24" fmla="*/ 598 w 4502"/>
                <a:gd name="T25" fmla="*/ 6657 h 16051"/>
                <a:gd name="T26" fmla="*/ 723 w 4502"/>
                <a:gd name="T27" fmla="*/ 5993 h 16051"/>
                <a:gd name="T28" fmla="*/ 577 w 4502"/>
                <a:gd name="T29" fmla="*/ 5335 h 16051"/>
                <a:gd name="T30" fmla="*/ 281 w 4502"/>
                <a:gd name="T31" fmla="*/ 4858 h 16051"/>
                <a:gd name="T32" fmla="*/ 50 w 4502"/>
                <a:gd name="T33" fmla="*/ 4321 h 16051"/>
                <a:gd name="T34" fmla="*/ 14 w 4502"/>
                <a:gd name="T35" fmla="*/ 3617 h 16051"/>
                <a:gd name="T36" fmla="*/ 171 w 4502"/>
                <a:gd name="T37" fmla="*/ 3080 h 16051"/>
                <a:gd name="T38" fmla="*/ 447 w 4502"/>
                <a:gd name="T39" fmla="*/ 2728 h 16051"/>
                <a:gd name="T40" fmla="*/ 808 w 4502"/>
                <a:gd name="T41" fmla="*/ 2562 h 16051"/>
                <a:gd name="T42" fmla="*/ 1045 w 4502"/>
                <a:gd name="T43" fmla="*/ 2476 h 16051"/>
                <a:gd name="T44" fmla="*/ 1271 w 4502"/>
                <a:gd name="T45" fmla="*/ 2190 h 16051"/>
                <a:gd name="T46" fmla="*/ 1351 w 4502"/>
                <a:gd name="T47" fmla="*/ 1442 h 16051"/>
                <a:gd name="T48" fmla="*/ 1275 w 4502"/>
                <a:gd name="T49" fmla="*/ 1351 h 16051"/>
                <a:gd name="T50" fmla="*/ 1185 w 4502"/>
                <a:gd name="T51" fmla="*/ 1205 h 16051"/>
                <a:gd name="T52" fmla="*/ 1542 w 4502"/>
                <a:gd name="T53" fmla="*/ 45 h 16051"/>
                <a:gd name="T54" fmla="*/ 2546 w 4502"/>
                <a:gd name="T55" fmla="*/ 5 h 16051"/>
                <a:gd name="T56" fmla="*/ 3310 w 4502"/>
                <a:gd name="T57" fmla="*/ 120 h 16051"/>
                <a:gd name="T58" fmla="*/ 3280 w 4502"/>
                <a:gd name="T59" fmla="*/ 1286 h 16051"/>
                <a:gd name="T60" fmla="*/ 3175 w 4502"/>
                <a:gd name="T61" fmla="*/ 1381 h 16051"/>
                <a:gd name="T62" fmla="*/ 3155 w 4502"/>
                <a:gd name="T63" fmla="*/ 1999 h 16051"/>
                <a:gd name="T64" fmla="*/ 3351 w 4502"/>
                <a:gd name="T65" fmla="*/ 2391 h 16051"/>
                <a:gd name="T66" fmla="*/ 3572 w 4502"/>
                <a:gd name="T67" fmla="*/ 2542 h 16051"/>
                <a:gd name="T68" fmla="*/ 3878 w 4502"/>
                <a:gd name="T69" fmla="*/ 2622 h 16051"/>
                <a:gd name="T70" fmla="*/ 4199 w 4502"/>
                <a:gd name="T71" fmla="*/ 2879 h 16051"/>
                <a:gd name="T72" fmla="*/ 4435 w 4502"/>
                <a:gd name="T73" fmla="*/ 3331 h 16051"/>
                <a:gd name="T74" fmla="*/ 4496 w 4502"/>
                <a:gd name="T75" fmla="*/ 3994 h 16051"/>
                <a:gd name="T76" fmla="*/ 4355 w 4502"/>
                <a:gd name="T77" fmla="*/ 4607 h 16051"/>
                <a:gd name="T78" fmla="*/ 4109 w 4502"/>
                <a:gd name="T79" fmla="*/ 5008 h 16051"/>
                <a:gd name="T80" fmla="*/ 3812 w 4502"/>
                <a:gd name="T81" fmla="*/ 5662 h 16051"/>
                <a:gd name="T82" fmla="*/ 3807 w 4502"/>
                <a:gd name="T83" fmla="*/ 6325 h 16051"/>
                <a:gd name="T84" fmla="*/ 4019 w 4502"/>
                <a:gd name="T85" fmla="*/ 6883 h 16051"/>
                <a:gd name="T86" fmla="*/ 4320 w 4502"/>
                <a:gd name="T87" fmla="*/ 7666 h 16051"/>
                <a:gd name="T88" fmla="*/ 4425 w 4502"/>
                <a:gd name="T89" fmla="*/ 8630 h 16051"/>
                <a:gd name="T90" fmla="*/ 4416 w 4502"/>
                <a:gd name="T91" fmla="*/ 13588 h 16051"/>
                <a:gd name="T92" fmla="*/ 4480 w 4502"/>
                <a:gd name="T93" fmla="*/ 14086 h 16051"/>
                <a:gd name="T94" fmla="*/ 4375 w 4502"/>
                <a:gd name="T95" fmla="*/ 15040 h 16051"/>
                <a:gd name="T96" fmla="*/ 4159 w 4502"/>
                <a:gd name="T97" fmla="*/ 15728 h 16051"/>
                <a:gd name="T98" fmla="*/ 4008 w 4502"/>
                <a:gd name="T99" fmla="*/ 15884 h 16051"/>
                <a:gd name="T100" fmla="*/ 3803 w 4502"/>
                <a:gd name="T101" fmla="*/ 15929 h 16051"/>
                <a:gd name="T102" fmla="*/ 3591 w 4502"/>
                <a:gd name="T103" fmla="*/ 15839 h 16051"/>
                <a:gd name="T104" fmla="*/ 3351 w 4502"/>
                <a:gd name="T105" fmla="*/ 15709 h 16051"/>
                <a:gd name="T106" fmla="*/ 3074 w 4502"/>
                <a:gd name="T107" fmla="*/ 15824 h 16051"/>
                <a:gd name="T108" fmla="*/ 2370 w 4502"/>
                <a:gd name="T109" fmla="*/ 16045 h 16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2" h="16051">
                  <a:moveTo>
                    <a:pt x="2250" y="16050"/>
                  </a:moveTo>
                  <a:lnTo>
                    <a:pt x="2250" y="16050"/>
                  </a:lnTo>
                  <a:lnTo>
                    <a:pt x="2124" y="16045"/>
                  </a:lnTo>
                  <a:lnTo>
                    <a:pt x="1999" y="16030"/>
                  </a:lnTo>
                  <a:lnTo>
                    <a:pt x="1873" y="16005"/>
                  </a:lnTo>
                  <a:lnTo>
                    <a:pt x="1753" y="15970"/>
                  </a:lnTo>
                  <a:lnTo>
                    <a:pt x="1638" y="15929"/>
                  </a:lnTo>
                  <a:lnTo>
                    <a:pt x="1527" y="15879"/>
                  </a:lnTo>
                  <a:lnTo>
                    <a:pt x="1421" y="15824"/>
                  </a:lnTo>
                  <a:lnTo>
                    <a:pt x="1331" y="15764"/>
                  </a:lnTo>
                  <a:lnTo>
                    <a:pt x="1331" y="15764"/>
                  </a:lnTo>
                  <a:lnTo>
                    <a:pt x="1291" y="15734"/>
                  </a:lnTo>
                  <a:lnTo>
                    <a:pt x="1246" y="15719"/>
                  </a:lnTo>
                  <a:lnTo>
                    <a:pt x="1195" y="15709"/>
                  </a:lnTo>
                  <a:lnTo>
                    <a:pt x="1145" y="15709"/>
                  </a:lnTo>
                  <a:lnTo>
                    <a:pt x="1100" y="15714"/>
                  </a:lnTo>
                  <a:lnTo>
                    <a:pt x="1054" y="15728"/>
                  </a:lnTo>
                  <a:lnTo>
                    <a:pt x="1009" y="15754"/>
                  </a:lnTo>
                  <a:lnTo>
                    <a:pt x="969" y="15784"/>
                  </a:lnTo>
                  <a:lnTo>
                    <a:pt x="969" y="15784"/>
                  </a:lnTo>
                  <a:lnTo>
                    <a:pt x="909" y="15839"/>
                  </a:lnTo>
                  <a:lnTo>
                    <a:pt x="839" y="15884"/>
                  </a:lnTo>
                  <a:lnTo>
                    <a:pt x="839" y="15884"/>
                  </a:lnTo>
                  <a:lnTo>
                    <a:pt x="803" y="15899"/>
                  </a:lnTo>
                  <a:lnTo>
                    <a:pt x="768" y="15915"/>
                  </a:lnTo>
                  <a:lnTo>
                    <a:pt x="733" y="15924"/>
                  </a:lnTo>
                  <a:lnTo>
                    <a:pt x="698" y="15929"/>
                  </a:lnTo>
                  <a:lnTo>
                    <a:pt x="663" y="15929"/>
                  </a:lnTo>
                  <a:lnTo>
                    <a:pt x="627" y="15929"/>
                  </a:lnTo>
                  <a:lnTo>
                    <a:pt x="593" y="15924"/>
                  </a:lnTo>
                  <a:lnTo>
                    <a:pt x="557" y="15915"/>
                  </a:lnTo>
                  <a:lnTo>
                    <a:pt x="522" y="15904"/>
                  </a:lnTo>
                  <a:lnTo>
                    <a:pt x="492" y="15884"/>
                  </a:lnTo>
                  <a:lnTo>
                    <a:pt x="462" y="15869"/>
                  </a:lnTo>
                  <a:lnTo>
                    <a:pt x="431" y="15844"/>
                  </a:lnTo>
                  <a:lnTo>
                    <a:pt x="406" y="15819"/>
                  </a:lnTo>
                  <a:lnTo>
                    <a:pt x="381" y="15794"/>
                  </a:lnTo>
                  <a:lnTo>
                    <a:pt x="356" y="15764"/>
                  </a:lnTo>
                  <a:lnTo>
                    <a:pt x="341" y="15728"/>
                  </a:lnTo>
                  <a:lnTo>
                    <a:pt x="341" y="15728"/>
                  </a:lnTo>
                  <a:lnTo>
                    <a:pt x="286" y="15618"/>
                  </a:lnTo>
                  <a:lnTo>
                    <a:pt x="241" y="15488"/>
                  </a:lnTo>
                  <a:lnTo>
                    <a:pt x="196" y="15352"/>
                  </a:lnTo>
                  <a:lnTo>
                    <a:pt x="160" y="15201"/>
                  </a:lnTo>
                  <a:lnTo>
                    <a:pt x="125" y="15040"/>
                  </a:lnTo>
                  <a:lnTo>
                    <a:pt x="90" y="14880"/>
                  </a:lnTo>
                  <a:lnTo>
                    <a:pt x="65" y="14714"/>
                  </a:lnTo>
                  <a:lnTo>
                    <a:pt x="45" y="14548"/>
                  </a:lnTo>
                  <a:lnTo>
                    <a:pt x="30" y="14387"/>
                  </a:lnTo>
                  <a:lnTo>
                    <a:pt x="20" y="14232"/>
                  </a:lnTo>
                  <a:lnTo>
                    <a:pt x="20" y="14086"/>
                  </a:lnTo>
                  <a:lnTo>
                    <a:pt x="20" y="13945"/>
                  </a:lnTo>
                  <a:lnTo>
                    <a:pt x="30" y="13825"/>
                  </a:lnTo>
                  <a:lnTo>
                    <a:pt x="45" y="13714"/>
                  </a:lnTo>
                  <a:lnTo>
                    <a:pt x="60" y="13669"/>
                  </a:lnTo>
                  <a:lnTo>
                    <a:pt x="70" y="13624"/>
                  </a:lnTo>
                  <a:lnTo>
                    <a:pt x="85" y="13588"/>
                  </a:lnTo>
                  <a:lnTo>
                    <a:pt x="100" y="13558"/>
                  </a:lnTo>
                  <a:lnTo>
                    <a:pt x="100" y="9177"/>
                  </a:lnTo>
                  <a:lnTo>
                    <a:pt x="100" y="9177"/>
                  </a:lnTo>
                  <a:lnTo>
                    <a:pt x="85" y="8992"/>
                  </a:lnTo>
                  <a:lnTo>
                    <a:pt x="80" y="8806"/>
                  </a:lnTo>
                  <a:lnTo>
                    <a:pt x="75" y="8630"/>
                  </a:lnTo>
                  <a:lnTo>
                    <a:pt x="75" y="8459"/>
                  </a:lnTo>
                  <a:lnTo>
                    <a:pt x="85" y="8289"/>
                  </a:lnTo>
                  <a:lnTo>
                    <a:pt x="100" y="8128"/>
                  </a:lnTo>
                  <a:lnTo>
                    <a:pt x="120" y="7968"/>
                  </a:lnTo>
                  <a:lnTo>
                    <a:pt x="145" y="7817"/>
                  </a:lnTo>
                  <a:lnTo>
                    <a:pt x="176" y="7666"/>
                  </a:lnTo>
                  <a:lnTo>
                    <a:pt x="215" y="7526"/>
                  </a:lnTo>
                  <a:lnTo>
                    <a:pt x="256" y="7385"/>
                  </a:lnTo>
                  <a:lnTo>
                    <a:pt x="306" y="7254"/>
                  </a:lnTo>
                  <a:lnTo>
                    <a:pt x="356" y="7124"/>
                  </a:lnTo>
                  <a:lnTo>
                    <a:pt x="417" y="6998"/>
                  </a:lnTo>
                  <a:lnTo>
                    <a:pt x="482" y="6883"/>
                  </a:lnTo>
                  <a:lnTo>
                    <a:pt x="552" y="6767"/>
                  </a:lnTo>
                  <a:lnTo>
                    <a:pt x="552" y="6767"/>
                  </a:lnTo>
                  <a:lnTo>
                    <a:pt x="598" y="6657"/>
                  </a:lnTo>
                  <a:lnTo>
                    <a:pt x="637" y="6546"/>
                  </a:lnTo>
                  <a:lnTo>
                    <a:pt x="668" y="6436"/>
                  </a:lnTo>
                  <a:lnTo>
                    <a:pt x="693" y="6325"/>
                  </a:lnTo>
                  <a:lnTo>
                    <a:pt x="713" y="6210"/>
                  </a:lnTo>
                  <a:lnTo>
                    <a:pt x="723" y="6099"/>
                  </a:lnTo>
                  <a:lnTo>
                    <a:pt x="723" y="5993"/>
                  </a:lnTo>
                  <a:lnTo>
                    <a:pt x="718" y="5883"/>
                  </a:lnTo>
                  <a:lnTo>
                    <a:pt x="708" y="5772"/>
                  </a:lnTo>
                  <a:lnTo>
                    <a:pt x="688" y="5662"/>
                  </a:lnTo>
                  <a:lnTo>
                    <a:pt x="657" y="5551"/>
                  </a:lnTo>
                  <a:lnTo>
                    <a:pt x="623" y="5441"/>
                  </a:lnTo>
                  <a:lnTo>
                    <a:pt x="577" y="5335"/>
                  </a:lnTo>
                  <a:lnTo>
                    <a:pt x="522" y="5225"/>
                  </a:lnTo>
                  <a:lnTo>
                    <a:pt x="462" y="5119"/>
                  </a:lnTo>
                  <a:lnTo>
                    <a:pt x="386" y="5008"/>
                  </a:lnTo>
                  <a:lnTo>
                    <a:pt x="386" y="5008"/>
                  </a:lnTo>
                  <a:lnTo>
                    <a:pt x="331" y="4933"/>
                  </a:lnTo>
                  <a:lnTo>
                    <a:pt x="281" y="4858"/>
                  </a:lnTo>
                  <a:lnTo>
                    <a:pt x="231" y="4777"/>
                  </a:lnTo>
                  <a:lnTo>
                    <a:pt x="185" y="4692"/>
                  </a:lnTo>
                  <a:lnTo>
                    <a:pt x="145" y="4607"/>
                  </a:lnTo>
                  <a:lnTo>
                    <a:pt x="110" y="4516"/>
                  </a:lnTo>
                  <a:lnTo>
                    <a:pt x="75" y="4421"/>
                  </a:lnTo>
                  <a:lnTo>
                    <a:pt x="50" y="4321"/>
                  </a:lnTo>
                  <a:lnTo>
                    <a:pt x="30" y="4220"/>
                  </a:lnTo>
                  <a:lnTo>
                    <a:pt x="9" y="4109"/>
                  </a:lnTo>
                  <a:lnTo>
                    <a:pt x="5" y="3994"/>
                  </a:lnTo>
                  <a:lnTo>
                    <a:pt x="0" y="3873"/>
                  </a:lnTo>
                  <a:lnTo>
                    <a:pt x="5" y="3748"/>
                  </a:lnTo>
                  <a:lnTo>
                    <a:pt x="14" y="3617"/>
                  </a:lnTo>
                  <a:lnTo>
                    <a:pt x="35" y="3476"/>
                  </a:lnTo>
                  <a:lnTo>
                    <a:pt x="60" y="3331"/>
                  </a:lnTo>
                  <a:lnTo>
                    <a:pt x="60" y="3331"/>
                  </a:lnTo>
                  <a:lnTo>
                    <a:pt x="95" y="3240"/>
                  </a:lnTo>
                  <a:lnTo>
                    <a:pt x="130" y="3160"/>
                  </a:lnTo>
                  <a:lnTo>
                    <a:pt x="171" y="3080"/>
                  </a:lnTo>
                  <a:lnTo>
                    <a:pt x="210" y="3009"/>
                  </a:lnTo>
                  <a:lnTo>
                    <a:pt x="251" y="2939"/>
                  </a:lnTo>
                  <a:lnTo>
                    <a:pt x="296" y="2879"/>
                  </a:lnTo>
                  <a:lnTo>
                    <a:pt x="346" y="2823"/>
                  </a:lnTo>
                  <a:lnTo>
                    <a:pt x="397" y="2773"/>
                  </a:lnTo>
                  <a:lnTo>
                    <a:pt x="447" y="2728"/>
                  </a:lnTo>
                  <a:lnTo>
                    <a:pt x="502" y="2688"/>
                  </a:lnTo>
                  <a:lnTo>
                    <a:pt x="557" y="2652"/>
                  </a:lnTo>
                  <a:lnTo>
                    <a:pt x="618" y="2622"/>
                  </a:lnTo>
                  <a:lnTo>
                    <a:pt x="683" y="2597"/>
                  </a:lnTo>
                  <a:lnTo>
                    <a:pt x="743" y="2577"/>
                  </a:lnTo>
                  <a:lnTo>
                    <a:pt x="808" y="2562"/>
                  </a:lnTo>
                  <a:lnTo>
                    <a:pt x="879" y="2552"/>
                  </a:lnTo>
                  <a:lnTo>
                    <a:pt x="879" y="2552"/>
                  </a:lnTo>
                  <a:lnTo>
                    <a:pt x="924" y="2542"/>
                  </a:lnTo>
                  <a:lnTo>
                    <a:pt x="969" y="2522"/>
                  </a:lnTo>
                  <a:lnTo>
                    <a:pt x="1009" y="2501"/>
                  </a:lnTo>
                  <a:lnTo>
                    <a:pt x="1045" y="2476"/>
                  </a:lnTo>
                  <a:lnTo>
                    <a:pt x="1079" y="2451"/>
                  </a:lnTo>
                  <a:lnTo>
                    <a:pt x="1115" y="2421"/>
                  </a:lnTo>
                  <a:lnTo>
                    <a:pt x="1145" y="2391"/>
                  </a:lnTo>
                  <a:lnTo>
                    <a:pt x="1175" y="2356"/>
                  </a:lnTo>
                  <a:lnTo>
                    <a:pt x="1225" y="2275"/>
                  </a:lnTo>
                  <a:lnTo>
                    <a:pt x="1271" y="2190"/>
                  </a:lnTo>
                  <a:lnTo>
                    <a:pt x="1311" y="2100"/>
                  </a:lnTo>
                  <a:lnTo>
                    <a:pt x="1346" y="1999"/>
                  </a:lnTo>
                  <a:lnTo>
                    <a:pt x="1346" y="1999"/>
                  </a:lnTo>
                  <a:lnTo>
                    <a:pt x="1351" y="1964"/>
                  </a:lnTo>
                  <a:lnTo>
                    <a:pt x="1351" y="1442"/>
                  </a:lnTo>
                  <a:lnTo>
                    <a:pt x="1351" y="1442"/>
                  </a:lnTo>
                  <a:lnTo>
                    <a:pt x="1346" y="1417"/>
                  </a:lnTo>
                  <a:lnTo>
                    <a:pt x="1336" y="1397"/>
                  </a:lnTo>
                  <a:lnTo>
                    <a:pt x="1321" y="1381"/>
                  </a:lnTo>
                  <a:lnTo>
                    <a:pt x="1306" y="1366"/>
                  </a:lnTo>
                  <a:lnTo>
                    <a:pt x="1306" y="1366"/>
                  </a:lnTo>
                  <a:lnTo>
                    <a:pt x="1275" y="1351"/>
                  </a:lnTo>
                  <a:lnTo>
                    <a:pt x="1255" y="1331"/>
                  </a:lnTo>
                  <a:lnTo>
                    <a:pt x="1235" y="1311"/>
                  </a:lnTo>
                  <a:lnTo>
                    <a:pt x="1216" y="1286"/>
                  </a:lnTo>
                  <a:lnTo>
                    <a:pt x="1205" y="1261"/>
                  </a:lnTo>
                  <a:lnTo>
                    <a:pt x="1195" y="1235"/>
                  </a:lnTo>
                  <a:lnTo>
                    <a:pt x="1185" y="1205"/>
                  </a:lnTo>
                  <a:lnTo>
                    <a:pt x="1185" y="1175"/>
                  </a:lnTo>
                  <a:lnTo>
                    <a:pt x="1185" y="120"/>
                  </a:lnTo>
                  <a:lnTo>
                    <a:pt x="1185" y="120"/>
                  </a:lnTo>
                  <a:lnTo>
                    <a:pt x="1296" y="90"/>
                  </a:lnTo>
                  <a:lnTo>
                    <a:pt x="1416" y="65"/>
                  </a:lnTo>
                  <a:lnTo>
                    <a:pt x="1542" y="45"/>
                  </a:lnTo>
                  <a:lnTo>
                    <a:pt x="1672" y="25"/>
                  </a:lnTo>
                  <a:lnTo>
                    <a:pt x="1813" y="15"/>
                  </a:lnTo>
                  <a:lnTo>
                    <a:pt x="1954" y="5"/>
                  </a:lnTo>
                  <a:lnTo>
                    <a:pt x="2250" y="0"/>
                  </a:lnTo>
                  <a:lnTo>
                    <a:pt x="2250" y="0"/>
                  </a:lnTo>
                  <a:lnTo>
                    <a:pt x="2546" y="5"/>
                  </a:lnTo>
                  <a:lnTo>
                    <a:pt x="2687" y="15"/>
                  </a:lnTo>
                  <a:lnTo>
                    <a:pt x="2823" y="25"/>
                  </a:lnTo>
                  <a:lnTo>
                    <a:pt x="2954" y="45"/>
                  </a:lnTo>
                  <a:lnTo>
                    <a:pt x="3084" y="65"/>
                  </a:lnTo>
                  <a:lnTo>
                    <a:pt x="3200" y="90"/>
                  </a:lnTo>
                  <a:lnTo>
                    <a:pt x="3310" y="120"/>
                  </a:lnTo>
                  <a:lnTo>
                    <a:pt x="3310" y="1175"/>
                  </a:lnTo>
                  <a:lnTo>
                    <a:pt x="3310" y="1175"/>
                  </a:lnTo>
                  <a:lnTo>
                    <a:pt x="3310" y="1205"/>
                  </a:lnTo>
                  <a:lnTo>
                    <a:pt x="3305" y="1235"/>
                  </a:lnTo>
                  <a:lnTo>
                    <a:pt x="3295" y="1261"/>
                  </a:lnTo>
                  <a:lnTo>
                    <a:pt x="3280" y="1286"/>
                  </a:lnTo>
                  <a:lnTo>
                    <a:pt x="3265" y="1311"/>
                  </a:lnTo>
                  <a:lnTo>
                    <a:pt x="3245" y="1331"/>
                  </a:lnTo>
                  <a:lnTo>
                    <a:pt x="3220" y="1351"/>
                  </a:lnTo>
                  <a:lnTo>
                    <a:pt x="3195" y="1366"/>
                  </a:lnTo>
                  <a:lnTo>
                    <a:pt x="3195" y="1366"/>
                  </a:lnTo>
                  <a:lnTo>
                    <a:pt x="3175" y="1381"/>
                  </a:lnTo>
                  <a:lnTo>
                    <a:pt x="3159" y="1397"/>
                  </a:lnTo>
                  <a:lnTo>
                    <a:pt x="3155" y="1417"/>
                  </a:lnTo>
                  <a:lnTo>
                    <a:pt x="3150" y="1442"/>
                  </a:lnTo>
                  <a:lnTo>
                    <a:pt x="3150" y="1964"/>
                  </a:lnTo>
                  <a:lnTo>
                    <a:pt x="3150" y="1964"/>
                  </a:lnTo>
                  <a:lnTo>
                    <a:pt x="3155" y="1999"/>
                  </a:lnTo>
                  <a:lnTo>
                    <a:pt x="3155" y="1999"/>
                  </a:lnTo>
                  <a:lnTo>
                    <a:pt x="3189" y="2100"/>
                  </a:lnTo>
                  <a:lnTo>
                    <a:pt x="3225" y="2190"/>
                  </a:lnTo>
                  <a:lnTo>
                    <a:pt x="3270" y="2275"/>
                  </a:lnTo>
                  <a:lnTo>
                    <a:pt x="3326" y="2356"/>
                  </a:lnTo>
                  <a:lnTo>
                    <a:pt x="3351" y="2391"/>
                  </a:lnTo>
                  <a:lnTo>
                    <a:pt x="3381" y="2421"/>
                  </a:lnTo>
                  <a:lnTo>
                    <a:pt x="3415" y="2451"/>
                  </a:lnTo>
                  <a:lnTo>
                    <a:pt x="3451" y="2476"/>
                  </a:lnTo>
                  <a:lnTo>
                    <a:pt x="3491" y="2501"/>
                  </a:lnTo>
                  <a:lnTo>
                    <a:pt x="3531" y="2522"/>
                  </a:lnTo>
                  <a:lnTo>
                    <a:pt x="3572" y="2542"/>
                  </a:lnTo>
                  <a:lnTo>
                    <a:pt x="3622" y="2552"/>
                  </a:lnTo>
                  <a:lnTo>
                    <a:pt x="3622" y="2552"/>
                  </a:lnTo>
                  <a:lnTo>
                    <a:pt x="3687" y="2562"/>
                  </a:lnTo>
                  <a:lnTo>
                    <a:pt x="3752" y="2577"/>
                  </a:lnTo>
                  <a:lnTo>
                    <a:pt x="3818" y="2597"/>
                  </a:lnTo>
                  <a:lnTo>
                    <a:pt x="3878" y="2622"/>
                  </a:lnTo>
                  <a:lnTo>
                    <a:pt x="3938" y="2652"/>
                  </a:lnTo>
                  <a:lnTo>
                    <a:pt x="3994" y="2688"/>
                  </a:lnTo>
                  <a:lnTo>
                    <a:pt x="4049" y="2728"/>
                  </a:lnTo>
                  <a:lnTo>
                    <a:pt x="4104" y="2773"/>
                  </a:lnTo>
                  <a:lnTo>
                    <a:pt x="4154" y="2823"/>
                  </a:lnTo>
                  <a:lnTo>
                    <a:pt x="4199" y="2879"/>
                  </a:lnTo>
                  <a:lnTo>
                    <a:pt x="4245" y="2939"/>
                  </a:lnTo>
                  <a:lnTo>
                    <a:pt x="4290" y="3009"/>
                  </a:lnTo>
                  <a:lnTo>
                    <a:pt x="4330" y="3080"/>
                  </a:lnTo>
                  <a:lnTo>
                    <a:pt x="4370" y="3160"/>
                  </a:lnTo>
                  <a:lnTo>
                    <a:pt x="4405" y="3240"/>
                  </a:lnTo>
                  <a:lnTo>
                    <a:pt x="4435" y="3331"/>
                  </a:lnTo>
                  <a:lnTo>
                    <a:pt x="4435" y="3331"/>
                  </a:lnTo>
                  <a:lnTo>
                    <a:pt x="4466" y="3476"/>
                  </a:lnTo>
                  <a:lnTo>
                    <a:pt x="4486" y="3617"/>
                  </a:lnTo>
                  <a:lnTo>
                    <a:pt x="4496" y="3748"/>
                  </a:lnTo>
                  <a:lnTo>
                    <a:pt x="4501" y="3873"/>
                  </a:lnTo>
                  <a:lnTo>
                    <a:pt x="4496" y="3994"/>
                  </a:lnTo>
                  <a:lnTo>
                    <a:pt x="4486" y="4109"/>
                  </a:lnTo>
                  <a:lnTo>
                    <a:pt x="4471" y="4220"/>
                  </a:lnTo>
                  <a:lnTo>
                    <a:pt x="4451" y="4321"/>
                  </a:lnTo>
                  <a:lnTo>
                    <a:pt x="4421" y="4421"/>
                  </a:lnTo>
                  <a:lnTo>
                    <a:pt x="4390" y="4516"/>
                  </a:lnTo>
                  <a:lnTo>
                    <a:pt x="4355" y="4607"/>
                  </a:lnTo>
                  <a:lnTo>
                    <a:pt x="4310" y="4692"/>
                  </a:lnTo>
                  <a:lnTo>
                    <a:pt x="4265" y="4777"/>
                  </a:lnTo>
                  <a:lnTo>
                    <a:pt x="4220" y="4858"/>
                  </a:lnTo>
                  <a:lnTo>
                    <a:pt x="4164" y="4933"/>
                  </a:lnTo>
                  <a:lnTo>
                    <a:pt x="4109" y="5008"/>
                  </a:lnTo>
                  <a:lnTo>
                    <a:pt x="4109" y="5008"/>
                  </a:lnTo>
                  <a:lnTo>
                    <a:pt x="4039" y="5119"/>
                  </a:lnTo>
                  <a:lnTo>
                    <a:pt x="3974" y="5225"/>
                  </a:lnTo>
                  <a:lnTo>
                    <a:pt x="3923" y="5335"/>
                  </a:lnTo>
                  <a:lnTo>
                    <a:pt x="3878" y="5441"/>
                  </a:lnTo>
                  <a:lnTo>
                    <a:pt x="3837" y="5551"/>
                  </a:lnTo>
                  <a:lnTo>
                    <a:pt x="3812" y="5662"/>
                  </a:lnTo>
                  <a:lnTo>
                    <a:pt x="3792" y="5772"/>
                  </a:lnTo>
                  <a:lnTo>
                    <a:pt x="3777" y="5883"/>
                  </a:lnTo>
                  <a:lnTo>
                    <a:pt x="3773" y="5993"/>
                  </a:lnTo>
                  <a:lnTo>
                    <a:pt x="3777" y="6099"/>
                  </a:lnTo>
                  <a:lnTo>
                    <a:pt x="3787" y="6210"/>
                  </a:lnTo>
                  <a:lnTo>
                    <a:pt x="3807" y="6325"/>
                  </a:lnTo>
                  <a:lnTo>
                    <a:pt x="3833" y="6436"/>
                  </a:lnTo>
                  <a:lnTo>
                    <a:pt x="3863" y="6546"/>
                  </a:lnTo>
                  <a:lnTo>
                    <a:pt x="3903" y="6657"/>
                  </a:lnTo>
                  <a:lnTo>
                    <a:pt x="3948" y="6767"/>
                  </a:lnTo>
                  <a:lnTo>
                    <a:pt x="3948" y="6767"/>
                  </a:lnTo>
                  <a:lnTo>
                    <a:pt x="4019" y="6883"/>
                  </a:lnTo>
                  <a:lnTo>
                    <a:pt x="4079" y="6998"/>
                  </a:lnTo>
                  <a:lnTo>
                    <a:pt x="4139" y="7124"/>
                  </a:lnTo>
                  <a:lnTo>
                    <a:pt x="4195" y="7254"/>
                  </a:lnTo>
                  <a:lnTo>
                    <a:pt x="4240" y="7385"/>
                  </a:lnTo>
                  <a:lnTo>
                    <a:pt x="4285" y="7526"/>
                  </a:lnTo>
                  <a:lnTo>
                    <a:pt x="4320" y="7666"/>
                  </a:lnTo>
                  <a:lnTo>
                    <a:pt x="4350" y="7817"/>
                  </a:lnTo>
                  <a:lnTo>
                    <a:pt x="4380" y="7968"/>
                  </a:lnTo>
                  <a:lnTo>
                    <a:pt x="4400" y="8128"/>
                  </a:lnTo>
                  <a:lnTo>
                    <a:pt x="4410" y="8289"/>
                  </a:lnTo>
                  <a:lnTo>
                    <a:pt x="4421" y="8459"/>
                  </a:lnTo>
                  <a:lnTo>
                    <a:pt x="4425" y="8630"/>
                  </a:lnTo>
                  <a:lnTo>
                    <a:pt x="4421" y="8806"/>
                  </a:lnTo>
                  <a:lnTo>
                    <a:pt x="4410" y="8992"/>
                  </a:lnTo>
                  <a:lnTo>
                    <a:pt x="4396" y="9177"/>
                  </a:lnTo>
                  <a:lnTo>
                    <a:pt x="4396" y="13558"/>
                  </a:lnTo>
                  <a:lnTo>
                    <a:pt x="4396" y="13558"/>
                  </a:lnTo>
                  <a:lnTo>
                    <a:pt x="4416" y="13588"/>
                  </a:lnTo>
                  <a:lnTo>
                    <a:pt x="4425" y="13624"/>
                  </a:lnTo>
                  <a:lnTo>
                    <a:pt x="4441" y="13669"/>
                  </a:lnTo>
                  <a:lnTo>
                    <a:pt x="4451" y="13714"/>
                  </a:lnTo>
                  <a:lnTo>
                    <a:pt x="4466" y="13825"/>
                  </a:lnTo>
                  <a:lnTo>
                    <a:pt x="4476" y="13945"/>
                  </a:lnTo>
                  <a:lnTo>
                    <a:pt x="4480" y="14086"/>
                  </a:lnTo>
                  <a:lnTo>
                    <a:pt x="4476" y="14232"/>
                  </a:lnTo>
                  <a:lnTo>
                    <a:pt x="4466" y="14387"/>
                  </a:lnTo>
                  <a:lnTo>
                    <a:pt x="4451" y="14548"/>
                  </a:lnTo>
                  <a:lnTo>
                    <a:pt x="4430" y="14714"/>
                  </a:lnTo>
                  <a:lnTo>
                    <a:pt x="4405" y="14880"/>
                  </a:lnTo>
                  <a:lnTo>
                    <a:pt x="4375" y="15040"/>
                  </a:lnTo>
                  <a:lnTo>
                    <a:pt x="4340" y="15201"/>
                  </a:lnTo>
                  <a:lnTo>
                    <a:pt x="4300" y="15352"/>
                  </a:lnTo>
                  <a:lnTo>
                    <a:pt x="4255" y="15488"/>
                  </a:lnTo>
                  <a:lnTo>
                    <a:pt x="4209" y="15618"/>
                  </a:lnTo>
                  <a:lnTo>
                    <a:pt x="4159" y="15728"/>
                  </a:lnTo>
                  <a:lnTo>
                    <a:pt x="4159" y="15728"/>
                  </a:lnTo>
                  <a:lnTo>
                    <a:pt x="4139" y="15764"/>
                  </a:lnTo>
                  <a:lnTo>
                    <a:pt x="4119" y="15794"/>
                  </a:lnTo>
                  <a:lnTo>
                    <a:pt x="4094" y="15819"/>
                  </a:lnTo>
                  <a:lnTo>
                    <a:pt x="4069" y="15844"/>
                  </a:lnTo>
                  <a:lnTo>
                    <a:pt x="4039" y="15869"/>
                  </a:lnTo>
                  <a:lnTo>
                    <a:pt x="4008" y="15884"/>
                  </a:lnTo>
                  <a:lnTo>
                    <a:pt x="3974" y="15904"/>
                  </a:lnTo>
                  <a:lnTo>
                    <a:pt x="3943" y="15915"/>
                  </a:lnTo>
                  <a:lnTo>
                    <a:pt x="3908" y="15924"/>
                  </a:lnTo>
                  <a:lnTo>
                    <a:pt x="3873" y="15929"/>
                  </a:lnTo>
                  <a:lnTo>
                    <a:pt x="3837" y="15929"/>
                  </a:lnTo>
                  <a:lnTo>
                    <a:pt x="3803" y="15929"/>
                  </a:lnTo>
                  <a:lnTo>
                    <a:pt x="3762" y="15924"/>
                  </a:lnTo>
                  <a:lnTo>
                    <a:pt x="3727" y="15915"/>
                  </a:lnTo>
                  <a:lnTo>
                    <a:pt x="3692" y="15899"/>
                  </a:lnTo>
                  <a:lnTo>
                    <a:pt x="3657" y="15884"/>
                  </a:lnTo>
                  <a:lnTo>
                    <a:pt x="3657" y="15884"/>
                  </a:lnTo>
                  <a:lnTo>
                    <a:pt x="3591" y="15839"/>
                  </a:lnTo>
                  <a:lnTo>
                    <a:pt x="3526" y="15784"/>
                  </a:lnTo>
                  <a:lnTo>
                    <a:pt x="3526" y="15784"/>
                  </a:lnTo>
                  <a:lnTo>
                    <a:pt x="3486" y="15754"/>
                  </a:lnTo>
                  <a:lnTo>
                    <a:pt x="3446" y="15728"/>
                  </a:lnTo>
                  <a:lnTo>
                    <a:pt x="3401" y="15714"/>
                  </a:lnTo>
                  <a:lnTo>
                    <a:pt x="3351" y="15709"/>
                  </a:lnTo>
                  <a:lnTo>
                    <a:pt x="3300" y="15709"/>
                  </a:lnTo>
                  <a:lnTo>
                    <a:pt x="3255" y="15719"/>
                  </a:lnTo>
                  <a:lnTo>
                    <a:pt x="3210" y="15734"/>
                  </a:lnTo>
                  <a:lnTo>
                    <a:pt x="3164" y="15764"/>
                  </a:lnTo>
                  <a:lnTo>
                    <a:pt x="3164" y="15764"/>
                  </a:lnTo>
                  <a:lnTo>
                    <a:pt x="3074" y="15824"/>
                  </a:lnTo>
                  <a:lnTo>
                    <a:pt x="2974" y="15879"/>
                  </a:lnTo>
                  <a:lnTo>
                    <a:pt x="2863" y="15929"/>
                  </a:lnTo>
                  <a:lnTo>
                    <a:pt x="2742" y="15970"/>
                  </a:lnTo>
                  <a:lnTo>
                    <a:pt x="2622" y="16005"/>
                  </a:lnTo>
                  <a:lnTo>
                    <a:pt x="2496" y="16030"/>
                  </a:lnTo>
                  <a:lnTo>
                    <a:pt x="2370" y="16045"/>
                  </a:lnTo>
                  <a:lnTo>
                    <a:pt x="2250" y="16050"/>
                  </a:lnTo>
                </a:path>
              </a:pathLst>
            </a:custGeom>
            <a:noFill/>
            <a:ln w="12700">
              <a:solidFill>
                <a:schemeClr val="bg1">
                  <a:alpha val="30000"/>
                </a:schemeClr>
              </a:solidFill>
            </a:ln>
            <a:effectLst/>
          </p:spPr>
          <p:txBody>
            <a:bodyPr wrap="none" anchor="ctr"/>
            <a:lstStyle/>
            <a:p>
              <a:endParaRPr lang="en-US" sz="1709"/>
            </a:p>
          </p:txBody>
        </p:sp>
        <p:sp>
          <p:nvSpPr>
            <p:cNvPr id="10" name="Freeform 9">
              <a:extLst>
                <a:ext uri="{FF2B5EF4-FFF2-40B4-BE49-F238E27FC236}">
                  <a16:creationId xmlns:a16="http://schemas.microsoft.com/office/drawing/2014/main" id="{ADAEB983-5641-0045-9A7E-6ED2E5D0E284}"/>
                </a:ext>
              </a:extLst>
            </p:cNvPr>
            <p:cNvSpPr>
              <a:spLocks noChangeArrowheads="1"/>
            </p:cNvSpPr>
            <p:nvPr/>
          </p:nvSpPr>
          <p:spPr bwMode="auto">
            <a:xfrm>
              <a:off x="8056401" y="1897832"/>
              <a:ext cx="1091620" cy="3609026"/>
            </a:xfrm>
            <a:custGeom>
              <a:avLst/>
              <a:gdLst>
                <a:gd name="T0" fmla="*/ 728 w 4321"/>
                <a:gd name="T1" fmla="*/ 14262 h 14288"/>
                <a:gd name="T2" fmla="*/ 392 w 4321"/>
                <a:gd name="T3" fmla="*/ 14152 h 14288"/>
                <a:gd name="T4" fmla="*/ 176 w 4321"/>
                <a:gd name="T5" fmla="*/ 14001 h 14288"/>
                <a:gd name="T6" fmla="*/ 25 w 4321"/>
                <a:gd name="T7" fmla="*/ 13770 h 14288"/>
                <a:gd name="T8" fmla="*/ 0 w 4321"/>
                <a:gd name="T9" fmla="*/ 6054 h 14288"/>
                <a:gd name="T10" fmla="*/ 55 w 4321"/>
                <a:gd name="T11" fmla="*/ 5883 h 14288"/>
                <a:gd name="T12" fmla="*/ 140 w 4321"/>
                <a:gd name="T13" fmla="*/ 5788 h 14288"/>
                <a:gd name="T14" fmla="*/ 266 w 4321"/>
                <a:gd name="T15" fmla="*/ 5627 h 14288"/>
                <a:gd name="T16" fmla="*/ 311 w 4321"/>
                <a:gd name="T17" fmla="*/ 5421 h 14288"/>
                <a:gd name="T18" fmla="*/ 306 w 4321"/>
                <a:gd name="T19" fmla="*/ 5301 h 14288"/>
                <a:gd name="T20" fmla="*/ 251 w 4321"/>
                <a:gd name="T21" fmla="*/ 5180 h 14288"/>
                <a:gd name="T22" fmla="*/ 171 w 4321"/>
                <a:gd name="T23" fmla="*/ 5100 h 14288"/>
                <a:gd name="T24" fmla="*/ 75 w 4321"/>
                <a:gd name="T25" fmla="*/ 4969 h 14288"/>
                <a:gd name="T26" fmla="*/ 5 w 4321"/>
                <a:gd name="T27" fmla="*/ 4687 h 14288"/>
                <a:gd name="T28" fmla="*/ 95 w 4321"/>
                <a:gd name="T29" fmla="*/ 3588 h 14288"/>
                <a:gd name="T30" fmla="*/ 281 w 4321"/>
                <a:gd name="T31" fmla="*/ 3060 h 14288"/>
                <a:gd name="T32" fmla="*/ 548 w 4321"/>
                <a:gd name="T33" fmla="*/ 2603 h 14288"/>
                <a:gd name="T34" fmla="*/ 899 w 4321"/>
                <a:gd name="T35" fmla="*/ 2206 h 14288"/>
                <a:gd name="T36" fmla="*/ 1115 w 4321"/>
                <a:gd name="T37" fmla="*/ 2015 h 14288"/>
                <a:gd name="T38" fmla="*/ 1130 w 4321"/>
                <a:gd name="T39" fmla="*/ 1598 h 14288"/>
                <a:gd name="T40" fmla="*/ 1095 w 4321"/>
                <a:gd name="T41" fmla="*/ 1537 h 14288"/>
                <a:gd name="T42" fmla="*/ 1030 w 4321"/>
                <a:gd name="T43" fmla="*/ 1528 h 14288"/>
                <a:gd name="T44" fmla="*/ 970 w 4321"/>
                <a:gd name="T45" fmla="*/ 1482 h 14288"/>
                <a:gd name="T46" fmla="*/ 949 w 4321"/>
                <a:gd name="T47" fmla="*/ 467 h 14288"/>
                <a:gd name="T48" fmla="*/ 989 w 4321"/>
                <a:gd name="T49" fmla="*/ 357 h 14288"/>
                <a:gd name="T50" fmla="*/ 1210 w 4321"/>
                <a:gd name="T51" fmla="*/ 206 h 14288"/>
                <a:gd name="T52" fmla="*/ 1652 w 4321"/>
                <a:gd name="T53" fmla="*/ 61 h 14288"/>
                <a:gd name="T54" fmla="*/ 2024 w 4321"/>
                <a:gd name="T55" fmla="*/ 5 h 14288"/>
                <a:gd name="T56" fmla="*/ 2431 w 4321"/>
                <a:gd name="T57" fmla="*/ 20 h 14288"/>
                <a:gd name="T58" fmla="*/ 2893 w 4321"/>
                <a:gd name="T59" fmla="*/ 121 h 14288"/>
                <a:gd name="T60" fmla="*/ 3306 w 4321"/>
                <a:gd name="T61" fmla="*/ 332 h 14288"/>
                <a:gd name="T62" fmla="*/ 3366 w 4321"/>
                <a:gd name="T63" fmla="*/ 427 h 14288"/>
                <a:gd name="T64" fmla="*/ 3366 w 4321"/>
                <a:gd name="T65" fmla="*/ 1442 h 14288"/>
                <a:gd name="T66" fmla="*/ 3326 w 4321"/>
                <a:gd name="T67" fmla="*/ 1512 h 14288"/>
                <a:gd name="T68" fmla="*/ 3245 w 4321"/>
                <a:gd name="T69" fmla="*/ 1533 h 14288"/>
                <a:gd name="T70" fmla="*/ 3195 w 4321"/>
                <a:gd name="T71" fmla="*/ 1573 h 14288"/>
                <a:gd name="T72" fmla="*/ 3190 w 4321"/>
                <a:gd name="T73" fmla="*/ 1990 h 14288"/>
                <a:gd name="T74" fmla="*/ 3215 w 4321"/>
                <a:gd name="T75" fmla="*/ 2025 h 14288"/>
                <a:gd name="T76" fmla="*/ 3607 w 4321"/>
                <a:gd name="T77" fmla="*/ 2397 h 14288"/>
                <a:gd name="T78" fmla="*/ 3913 w 4321"/>
                <a:gd name="T79" fmla="*/ 2824 h 14288"/>
                <a:gd name="T80" fmla="*/ 4139 w 4321"/>
                <a:gd name="T81" fmla="*/ 3316 h 14288"/>
                <a:gd name="T82" fmla="*/ 4290 w 4321"/>
                <a:gd name="T83" fmla="*/ 3879 h 14288"/>
                <a:gd name="T84" fmla="*/ 4300 w 4321"/>
                <a:gd name="T85" fmla="*/ 4838 h 14288"/>
                <a:gd name="T86" fmla="*/ 4210 w 4321"/>
                <a:gd name="T87" fmla="*/ 5014 h 14288"/>
                <a:gd name="T88" fmla="*/ 4114 w 4321"/>
                <a:gd name="T89" fmla="*/ 5130 h 14288"/>
                <a:gd name="T90" fmla="*/ 4034 w 4321"/>
                <a:gd name="T91" fmla="*/ 5235 h 14288"/>
                <a:gd name="T92" fmla="*/ 4009 w 4321"/>
                <a:gd name="T93" fmla="*/ 5371 h 14288"/>
                <a:gd name="T94" fmla="*/ 4019 w 4321"/>
                <a:gd name="T95" fmla="*/ 5531 h 14288"/>
                <a:gd name="T96" fmla="*/ 4109 w 4321"/>
                <a:gd name="T97" fmla="*/ 5712 h 14288"/>
                <a:gd name="T98" fmla="*/ 4210 w 4321"/>
                <a:gd name="T99" fmla="*/ 5818 h 14288"/>
                <a:gd name="T100" fmla="*/ 4300 w 4321"/>
                <a:gd name="T101" fmla="*/ 5964 h 14288"/>
                <a:gd name="T102" fmla="*/ 4320 w 4321"/>
                <a:gd name="T103" fmla="*/ 13699 h 14288"/>
                <a:gd name="T104" fmla="*/ 4230 w 4321"/>
                <a:gd name="T105" fmla="*/ 13895 h 14288"/>
                <a:gd name="T106" fmla="*/ 4044 w 4321"/>
                <a:gd name="T107" fmla="*/ 14082 h 14288"/>
                <a:gd name="T108" fmla="*/ 3803 w 4321"/>
                <a:gd name="T109" fmla="*/ 14202 h 14288"/>
                <a:gd name="T110" fmla="*/ 2160 w 4321"/>
                <a:gd name="T111" fmla="*/ 14287 h 14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21" h="14288">
                  <a:moveTo>
                    <a:pt x="2160" y="14287"/>
                  </a:moveTo>
                  <a:lnTo>
                    <a:pt x="879" y="14287"/>
                  </a:lnTo>
                  <a:lnTo>
                    <a:pt x="879" y="14287"/>
                  </a:lnTo>
                  <a:lnTo>
                    <a:pt x="728" y="14262"/>
                  </a:lnTo>
                  <a:lnTo>
                    <a:pt x="587" y="14227"/>
                  </a:lnTo>
                  <a:lnTo>
                    <a:pt x="517" y="14202"/>
                  </a:lnTo>
                  <a:lnTo>
                    <a:pt x="452" y="14182"/>
                  </a:lnTo>
                  <a:lnTo>
                    <a:pt x="392" y="14152"/>
                  </a:lnTo>
                  <a:lnTo>
                    <a:pt x="331" y="14121"/>
                  </a:lnTo>
                  <a:lnTo>
                    <a:pt x="276" y="14082"/>
                  </a:lnTo>
                  <a:lnTo>
                    <a:pt x="221" y="14046"/>
                  </a:lnTo>
                  <a:lnTo>
                    <a:pt x="176" y="14001"/>
                  </a:lnTo>
                  <a:lnTo>
                    <a:pt x="131" y="13951"/>
                  </a:lnTo>
                  <a:lnTo>
                    <a:pt x="90" y="13895"/>
                  </a:lnTo>
                  <a:lnTo>
                    <a:pt x="55" y="13835"/>
                  </a:lnTo>
                  <a:lnTo>
                    <a:pt x="25" y="13770"/>
                  </a:lnTo>
                  <a:lnTo>
                    <a:pt x="0" y="13699"/>
                  </a:lnTo>
                  <a:lnTo>
                    <a:pt x="0" y="6099"/>
                  </a:lnTo>
                  <a:lnTo>
                    <a:pt x="0" y="6099"/>
                  </a:lnTo>
                  <a:lnTo>
                    <a:pt x="0" y="6054"/>
                  </a:lnTo>
                  <a:lnTo>
                    <a:pt x="10" y="6009"/>
                  </a:lnTo>
                  <a:lnTo>
                    <a:pt x="20" y="5964"/>
                  </a:lnTo>
                  <a:lnTo>
                    <a:pt x="35" y="5924"/>
                  </a:lnTo>
                  <a:lnTo>
                    <a:pt x="55" y="5883"/>
                  </a:lnTo>
                  <a:lnTo>
                    <a:pt x="80" y="5848"/>
                  </a:lnTo>
                  <a:lnTo>
                    <a:pt x="110" y="5818"/>
                  </a:lnTo>
                  <a:lnTo>
                    <a:pt x="140" y="5788"/>
                  </a:lnTo>
                  <a:lnTo>
                    <a:pt x="140" y="5788"/>
                  </a:lnTo>
                  <a:lnTo>
                    <a:pt x="176" y="5748"/>
                  </a:lnTo>
                  <a:lnTo>
                    <a:pt x="211" y="5712"/>
                  </a:lnTo>
                  <a:lnTo>
                    <a:pt x="241" y="5672"/>
                  </a:lnTo>
                  <a:lnTo>
                    <a:pt x="266" y="5627"/>
                  </a:lnTo>
                  <a:lnTo>
                    <a:pt x="286" y="5582"/>
                  </a:lnTo>
                  <a:lnTo>
                    <a:pt x="301" y="5531"/>
                  </a:lnTo>
                  <a:lnTo>
                    <a:pt x="306" y="5476"/>
                  </a:lnTo>
                  <a:lnTo>
                    <a:pt x="311" y="5421"/>
                  </a:lnTo>
                  <a:lnTo>
                    <a:pt x="311" y="5371"/>
                  </a:lnTo>
                  <a:lnTo>
                    <a:pt x="311" y="5371"/>
                  </a:lnTo>
                  <a:lnTo>
                    <a:pt x="311" y="5335"/>
                  </a:lnTo>
                  <a:lnTo>
                    <a:pt x="306" y="5301"/>
                  </a:lnTo>
                  <a:lnTo>
                    <a:pt x="296" y="5265"/>
                  </a:lnTo>
                  <a:lnTo>
                    <a:pt x="281" y="5235"/>
                  </a:lnTo>
                  <a:lnTo>
                    <a:pt x="266" y="5205"/>
                  </a:lnTo>
                  <a:lnTo>
                    <a:pt x="251" y="5180"/>
                  </a:lnTo>
                  <a:lnTo>
                    <a:pt x="231" y="5155"/>
                  </a:lnTo>
                  <a:lnTo>
                    <a:pt x="206" y="5130"/>
                  </a:lnTo>
                  <a:lnTo>
                    <a:pt x="206" y="5130"/>
                  </a:lnTo>
                  <a:lnTo>
                    <a:pt x="171" y="5100"/>
                  </a:lnTo>
                  <a:lnTo>
                    <a:pt x="140" y="5059"/>
                  </a:lnTo>
                  <a:lnTo>
                    <a:pt x="105" y="5014"/>
                  </a:lnTo>
                  <a:lnTo>
                    <a:pt x="75" y="4969"/>
                  </a:lnTo>
                  <a:lnTo>
                    <a:pt x="75" y="4969"/>
                  </a:lnTo>
                  <a:lnTo>
                    <a:pt x="45" y="4904"/>
                  </a:lnTo>
                  <a:lnTo>
                    <a:pt x="20" y="4838"/>
                  </a:lnTo>
                  <a:lnTo>
                    <a:pt x="5" y="4763"/>
                  </a:lnTo>
                  <a:lnTo>
                    <a:pt x="5" y="4687"/>
                  </a:lnTo>
                  <a:lnTo>
                    <a:pt x="30" y="3879"/>
                  </a:lnTo>
                  <a:lnTo>
                    <a:pt x="30" y="3879"/>
                  </a:lnTo>
                  <a:lnTo>
                    <a:pt x="60" y="3728"/>
                  </a:lnTo>
                  <a:lnTo>
                    <a:pt x="95" y="3588"/>
                  </a:lnTo>
                  <a:lnTo>
                    <a:pt x="135" y="3447"/>
                  </a:lnTo>
                  <a:lnTo>
                    <a:pt x="181" y="3316"/>
                  </a:lnTo>
                  <a:lnTo>
                    <a:pt x="226" y="3186"/>
                  </a:lnTo>
                  <a:lnTo>
                    <a:pt x="281" y="3060"/>
                  </a:lnTo>
                  <a:lnTo>
                    <a:pt x="341" y="2940"/>
                  </a:lnTo>
                  <a:lnTo>
                    <a:pt x="407" y="2824"/>
                  </a:lnTo>
                  <a:lnTo>
                    <a:pt x="477" y="2713"/>
                  </a:lnTo>
                  <a:lnTo>
                    <a:pt x="548" y="2603"/>
                  </a:lnTo>
                  <a:lnTo>
                    <a:pt x="628" y="2497"/>
                  </a:lnTo>
                  <a:lnTo>
                    <a:pt x="713" y="2397"/>
                  </a:lnTo>
                  <a:lnTo>
                    <a:pt x="804" y="2301"/>
                  </a:lnTo>
                  <a:lnTo>
                    <a:pt x="899" y="2206"/>
                  </a:lnTo>
                  <a:lnTo>
                    <a:pt x="1000" y="2115"/>
                  </a:lnTo>
                  <a:lnTo>
                    <a:pt x="1105" y="2025"/>
                  </a:lnTo>
                  <a:lnTo>
                    <a:pt x="1105" y="2025"/>
                  </a:lnTo>
                  <a:lnTo>
                    <a:pt x="1115" y="2015"/>
                  </a:lnTo>
                  <a:lnTo>
                    <a:pt x="1125" y="2005"/>
                  </a:lnTo>
                  <a:lnTo>
                    <a:pt x="1130" y="1990"/>
                  </a:lnTo>
                  <a:lnTo>
                    <a:pt x="1130" y="1975"/>
                  </a:lnTo>
                  <a:lnTo>
                    <a:pt x="1130" y="1598"/>
                  </a:lnTo>
                  <a:lnTo>
                    <a:pt x="1130" y="1598"/>
                  </a:lnTo>
                  <a:lnTo>
                    <a:pt x="1125" y="1573"/>
                  </a:lnTo>
                  <a:lnTo>
                    <a:pt x="1115" y="1553"/>
                  </a:lnTo>
                  <a:lnTo>
                    <a:pt x="1095" y="1537"/>
                  </a:lnTo>
                  <a:lnTo>
                    <a:pt x="1075" y="1533"/>
                  </a:lnTo>
                  <a:lnTo>
                    <a:pt x="1050" y="1533"/>
                  </a:lnTo>
                  <a:lnTo>
                    <a:pt x="1050" y="1533"/>
                  </a:lnTo>
                  <a:lnTo>
                    <a:pt x="1030" y="1528"/>
                  </a:lnTo>
                  <a:lnTo>
                    <a:pt x="1009" y="1523"/>
                  </a:lnTo>
                  <a:lnTo>
                    <a:pt x="995" y="1512"/>
                  </a:lnTo>
                  <a:lnTo>
                    <a:pt x="979" y="1498"/>
                  </a:lnTo>
                  <a:lnTo>
                    <a:pt x="970" y="1482"/>
                  </a:lnTo>
                  <a:lnTo>
                    <a:pt x="959" y="1462"/>
                  </a:lnTo>
                  <a:lnTo>
                    <a:pt x="954" y="1442"/>
                  </a:lnTo>
                  <a:lnTo>
                    <a:pt x="949" y="1417"/>
                  </a:lnTo>
                  <a:lnTo>
                    <a:pt x="949" y="467"/>
                  </a:lnTo>
                  <a:lnTo>
                    <a:pt x="949" y="467"/>
                  </a:lnTo>
                  <a:lnTo>
                    <a:pt x="954" y="427"/>
                  </a:lnTo>
                  <a:lnTo>
                    <a:pt x="970" y="392"/>
                  </a:lnTo>
                  <a:lnTo>
                    <a:pt x="989" y="357"/>
                  </a:lnTo>
                  <a:lnTo>
                    <a:pt x="1015" y="332"/>
                  </a:lnTo>
                  <a:lnTo>
                    <a:pt x="1015" y="332"/>
                  </a:lnTo>
                  <a:lnTo>
                    <a:pt x="1110" y="266"/>
                  </a:lnTo>
                  <a:lnTo>
                    <a:pt x="1210" y="206"/>
                  </a:lnTo>
                  <a:lnTo>
                    <a:pt x="1316" y="161"/>
                  </a:lnTo>
                  <a:lnTo>
                    <a:pt x="1426" y="121"/>
                  </a:lnTo>
                  <a:lnTo>
                    <a:pt x="1537" y="86"/>
                  </a:lnTo>
                  <a:lnTo>
                    <a:pt x="1652" y="61"/>
                  </a:lnTo>
                  <a:lnTo>
                    <a:pt x="1768" y="41"/>
                  </a:lnTo>
                  <a:lnTo>
                    <a:pt x="1889" y="20"/>
                  </a:lnTo>
                  <a:lnTo>
                    <a:pt x="1889" y="20"/>
                  </a:lnTo>
                  <a:lnTo>
                    <a:pt x="2024" y="5"/>
                  </a:lnTo>
                  <a:lnTo>
                    <a:pt x="2160" y="0"/>
                  </a:lnTo>
                  <a:lnTo>
                    <a:pt x="2296" y="5"/>
                  </a:lnTo>
                  <a:lnTo>
                    <a:pt x="2431" y="20"/>
                  </a:lnTo>
                  <a:lnTo>
                    <a:pt x="2431" y="20"/>
                  </a:lnTo>
                  <a:lnTo>
                    <a:pt x="2547" y="41"/>
                  </a:lnTo>
                  <a:lnTo>
                    <a:pt x="2667" y="61"/>
                  </a:lnTo>
                  <a:lnTo>
                    <a:pt x="2783" y="86"/>
                  </a:lnTo>
                  <a:lnTo>
                    <a:pt x="2893" y="121"/>
                  </a:lnTo>
                  <a:lnTo>
                    <a:pt x="3004" y="161"/>
                  </a:lnTo>
                  <a:lnTo>
                    <a:pt x="3110" y="206"/>
                  </a:lnTo>
                  <a:lnTo>
                    <a:pt x="3210" y="266"/>
                  </a:lnTo>
                  <a:lnTo>
                    <a:pt x="3306" y="332"/>
                  </a:lnTo>
                  <a:lnTo>
                    <a:pt x="3306" y="332"/>
                  </a:lnTo>
                  <a:lnTo>
                    <a:pt x="3331" y="357"/>
                  </a:lnTo>
                  <a:lnTo>
                    <a:pt x="3351" y="392"/>
                  </a:lnTo>
                  <a:lnTo>
                    <a:pt x="3366" y="427"/>
                  </a:lnTo>
                  <a:lnTo>
                    <a:pt x="3366" y="467"/>
                  </a:lnTo>
                  <a:lnTo>
                    <a:pt x="3366" y="1417"/>
                  </a:lnTo>
                  <a:lnTo>
                    <a:pt x="3366" y="1417"/>
                  </a:lnTo>
                  <a:lnTo>
                    <a:pt x="3366" y="1442"/>
                  </a:lnTo>
                  <a:lnTo>
                    <a:pt x="3361" y="1462"/>
                  </a:lnTo>
                  <a:lnTo>
                    <a:pt x="3351" y="1482"/>
                  </a:lnTo>
                  <a:lnTo>
                    <a:pt x="3340" y="1498"/>
                  </a:lnTo>
                  <a:lnTo>
                    <a:pt x="3326" y="1512"/>
                  </a:lnTo>
                  <a:lnTo>
                    <a:pt x="3306" y="1523"/>
                  </a:lnTo>
                  <a:lnTo>
                    <a:pt x="3290" y="1528"/>
                  </a:lnTo>
                  <a:lnTo>
                    <a:pt x="3270" y="1533"/>
                  </a:lnTo>
                  <a:lnTo>
                    <a:pt x="3245" y="1533"/>
                  </a:lnTo>
                  <a:lnTo>
                    <a:pt x="3245" y="1533"/>
                  </a:lnTo>
                  <a:lnTo>
                    <a:pt x="3225" y="1537"/>
                  </a:lnTo>
                  <a:lnTo>
                    <a:pt x="3205" y="1553"/>
                  </a:lnTo>
                  <a:lnTo>
                    <a:pt x="3195" y="1573"/>
                  </a:lnTo>
                  <a:lnTo>
                    <a:pt x="3190" y="1598"/>
                  </a:lnTo>
                  <a:lnTo>
                    <a:pt x="3190" y="1975"/>
                  </a:lnTo>
                  <a:lnTo>
                    <a:pt x="3190" y="1975"/>
                  </a:lnTo>
                  <a:lnTo>
                    <a:pt x="3190" y="1990"/>
                  </a:lnTo>
                  <a:lnTo>
                    <a:pt x="3195" y="2005"/>
                  </a:lnTo>
                  <a:lnTo>
                    <a:pt x="3205" y="2015"/>
                  </a:lnTo>
                  <a:lnTo>
                    <a:pt x="3215" y="2025"/>
                  </a:lnTo>
                  <a:lnTo>
                    <a:pt x="3215" y="2025"/>
                  </a:lnTo>
                  <a:lnTo>
                    <a:pt x="3320" y="2115"/>
                  </a:lnTo>
                  <a:lnTo>
                    <a:pt x="3421" y="2206"/>
                  </a:lnTo>
                  <a:lnTo>
                    <a:pt x="3516" y="2301"/>
                  </a:lnTo>
                  <a:lnTo>
                    <a:pt x="3607" y="2397"/>
                  </a:lnTo>
                  <a:lnTo>
                    <a:pt x="3692" y="2497"/>
                  </a:lnTo>
                  <a:lnTo>
                    <a:pt x="3767" y="2603"/>
                  </a:lnTo>
                  <a:lnTo>
                    <a:pt x="3843" y="2713"/>
                  </a:lnTo>
                  <a:lnTo>
                    <a:pt x="3913" y="2824"/>
                  </a:lnTo>
                  <a:lnTo>
                    <a:pt x="3979" y="2940"/>
                  </a:lnTo>
                  <a:lnTo>
                    <a:pt x="4039" y="3060"/>
                  </a:lnTo>
                  <a:lnTo>
                    <a:pt x="4089" y="3186"/>
                  </a:lnTo>
                  <a:lnTo>
                    <a:pt x="4139" y="3316"/>
                  </a:lnTo>
                  <a:lnTo>
                    <a:pt x="4184" y="3447"/>
                  </a:lnTo>
                  <a:lnTo>
                    <a:pt x="4225" y="3588"/>
                  </a:lnTo>
                  <a:lnTo>
                    <a:pt x="4260" y="3728"/>
                  </a:lnTo>
                  <a:lnTo>
                    <a:pt x="4290" y="3879"/>
                  </a:lnTo>
                  <a:lnTo>
                    <a:pt x="4315" y="4687"/>
                  </a:lnTo>
                  <a:lnTo>
                    <a:pt x="4315" y="4687"/>
                  </a:lnTo>
                  <a:lnTo>
                    <a:pt x="4315" y="4763"/>
                  </a:lnTo>
                  <a:lnTo>
                    <a:pt x="4300" y="4838"/>
                  </a:lnTo>
                  <a:lnTo>
                    <a:pt x="4275" y="4904"/>
                  </a:lnTo>
                  <a:lnTo>
                    <a:pt x="4245" y="4969"/>
                  </a:lnTo>
                  <a:lnTo>
                    <a:pt x="4245" y="4969"/>
                  </a:lnTo>
                  <a:lnTo>
                    <a:pt x="4210" y="5014"/>
                  </a:lnTo>
                  <a:lnTo>
                    <a:pt x="4180" y="5059"/>
                  </a:lnTo>
                  <a:lnTo>
                    <a:pt x="4150" y="5100"/>
                  </a:lnTo>
                  <a:lnTo>
                    <a:pt x="4114" y="5130"/>
                  </a:lnTo>
                  <a:lnTo>
                    <a:pt x="4114" y="5130"/>
                  </a:lnTo>
                  <a:lnTo>
                    <a:pt x="4089" y="5155"/>
                  </a:lnTo>
                  <a:lnTo>
                    <a:pt x="4069" y="5180"/>
                  </a:lnTo>
                  <a:lnTo>
                    <a:pt x="4049" y="5205"/>
                  </a:lnTo>
                  <a:lnTo>
                    <a:pt x="4034" y="5235"/>
                  </a:lnTo>
                  <a:lnTo>
                    <a:pt x="4024" y="5265"/>
                  </a:lnTo>
                  <a:lnTo>
                    <a:pt x="4013" y="5301"/>
                  </a:lnTo>
                  <a:lnTo>
                    <a:pt x="4009" y="5335"/>
                  </a:lnTo>
                  <a:lnTo>
                    <a:pt x="4009" y="5371"/>
                  </a:lnTo>
                  <a:lnTo>
                    <a:pt x="4009" y="5421"/>
                  </a:lnTo>
                  <a:lnTo>
                    <a:pt x="4009" y="5421"/>
                  </a:lnTo>
                  <a:lnTo>
                    <a:pt x="4009" y="5476"/>
                  </a:lnTo>
                  <a:lnTo>
                    <a:pt x="4019" y="5531"/>
                  </a:lnTo>
                  <a:lnTo>
                    <a:pt x="4034" y="5582"/>
                  </a:lnTo>
                  <a:lnTo>
                    <a:pt x="4054" y="5627"/>
                  </a:lnTo>
                  <a:lnTo>
                    <a:pt x="4079" y="5672"/>
                  </a:lnTo>
                  <a:lnTo>
                    <a:pt x="4109" y="5712"/>
                  </a:lnTo>
                  <a:lnTo>
                    <a:pt x="4144" y="5748"/>
                  </a:lnTo>
                  <a:lnTo>
                    <a:pt x="4180" y="5788"/>
                  </a:lnTo>
                  <a:lnTo>
                    <a:pt x="4180" y="5788"/>
                  </a:lnTo>
                  <a:lnTo>
                    <a:pt x="4210" y="5818"/>
                  </a:lnTo>
                  <a:lnTo>
                    <a:pt x="4240" y="5848"/>
                  </a:lnTo>
                  <a:lnTo>
                    <a:pt x="4265" y="5883"/>
                  </a:lnTo>
                  <a:lnTo>
                    <a:pt x="4285" y="5924"/>
                  </a:lnTo>
                  <a:lnTo>
                    <a:pt x="4300" y="5964"/>
                  </a:lnTo>
                  <a:lnTo>
                    <a:pt x="4310" y="6009"/>
                  </a:lnTo>
                  <a:lnTo>
                    <a:pt x="4320" y="6054"/>
                  </a:lnTo>
                  <a:lnTo>
                    <a:pt x="4320" y="6099"/>
                  </a:lnTo>
                  <a:lnTo>
                    <a:pt x="4320" y="13699"/>
                  </a:lnTo>
                  <a:lnTo>
                    <a:pt x="4320" y="13699"/>
                  </a:lnTo>
                  <a:lnTo>
                    <a:pt x="4295" y="13770"/>
                  </a:lnTo>
                  <a:lnTo>
                    <a:pt x="4265" y="13835"/>
                  </a:lnTo>
                  <a:lnTo>
                    <a:pt x="4230" y="13895"/>
                  </a:lnTo>
                  <a:lnTo>
                    <a:pt x="4189" y="13951"/>
                  </a:lnTo>
                  <a:lnTo>
                    <a:pt x="4144" y="14001"/>
                  </a:lnTo>
                  <a:lnTo>
                    <a:pt x="4099" y="14046"/>
                  </a:lnTo>
                  <a:lnTo>
                    <a:pt x="4044" y="14082"/>
                  </a:lnTo>
                  <a:lnTo>
                    <a:pt x="3988" y="14121"/>
                  </a:lnTo>
                  <a:lnTo>
                    <a:pt x="3929" y="14152"/>
                  </a:lnTo>
                  <a:lnTo>
                    <a:pt x="3868" y="14182"/>
                  </a:lnTo>
                  <a:lnTo>
                    <a:pt x="3803" y="14202"/>
                  </a:lnTo>
                  <a:lnTo>
                    <a:pt x="3732" y="14227"/>
                  </a:lnTo>
                  <a:lnTo>
                    <a:pt x="3591" y="14262"/>
                  </a:lnTo>
                  <a:lnTo>
                    <a:pt x="3441" y="14287"/>
                  </a:lnTo>
                  <a:lnTo>
                    <a:pt x="2160" y="14287"/>
                  </a:lnTo>
                </a:path>
              </a:pathLst>
            </a:custGeom>
            <a:noFill/>
            <a:ln w="12700">
              <a:solidFill>
                <a:schemeClr val="bg1">
                  <a:alpha val="30000"/>
                </a:schemeClr>
              </a:solidFill>
            </a:ln>
            <a:effectLst/>
          </p:spPr>
          <p:txBody>
            <a:bodyPr wrap="none" anchor="ctr"/>
            <a:lstStyle/>
            <a:p>
              <a:endParaRPr lang="en-US" sz="1709"/>
            </a:p>
          </p:txBody>
        </p:sp>
        <p:sp>
          <p:nvSpPr>
            <p:cNvPr id="11" name="Freeform 10">
              <a:extLst>
                <a:ext uri="{FF2B5EF4-FFF2-40B4-BE49-F238E27FC236}">
                  <a16:creationId xmlns:a16="http://schemas.microsoft.com/office/drawing/2014/main" id="{D553E484-C7EF-C14F-8178-2A696F3D3D60}"/>
                </a:ext>
              </a:extLst>
            </p:cNvPr>
            <p:cNvSpPr>
              <a:spLocks noChangeArrowheads="1"/>
            </p:cNvSpPr>
            <p:nvPr/>
          </p:nvSpPr>
          <p:spPr bwMode="auto">
            <a:xfrm>
              <a:off x="7386949" y="1702899"/>
              <a:ext cx="1027013" cy="3956563"/>
            </a:xfrm>
            <a:custGeom>
              <a:avLst/>
              <a:gdLst>
                <a:gd name="T0" fmla="*/ 532 w 4064"/>
                <a:gd name="T1" fmla="*/ 15664 h 15665"/>
                <a:gd name="T2" fmla="*/ 366 w 4064"/>
                <a:gd name="T3" fmla="*/ 15654 h 15665"/>
                <a:gd name="T4" fmla="*/ 240 w 4064"/>
                <a:gd name="T5" fmla="*/ 15604 h 15665"/>
                <a:gd name="T6" fmla="*/ 140 w 4064"/>
                <a:gd name="T7" fmla="*/ 15524 h 15665"/>
                <a:gd name="T8" fmla="*/ 39 w 4064"/>
                <a:gd name="T9" fmla="*/ 15383 h 15665"/>
                <a:gd name="T10" fmla="*/ 29 w 4064"/>
                <a:gd name="T11" fmla="*/ 5452 h 15665"/>
                <a:gd name="T12" fmla="*/ 34 w 4064"/>
                <a:gd name="T13" fmla="*/ 4698 h 15665"/>
                <a:gd name="T14" fmla="*/ 70 w 4064"/>
                <a:gd name="T15" fmla="*/ 4055 h 15665"/>
                <a:gd name="T16" fmla="*/ 115 w 4064"/>
                <a:gd name="T17" fmla="*/ 3688 h 15665"/>
                <a:gd name="T18" fmla="*/ 346 w 4064"/>
                <a:gd name="T19" fmla="*/ 3125 h 15665"/>
                <a:gd name="T20" fmla="*/ 637 w 4064"/>
                <a:gd name="T21" fmla="*/ 2603 h 15665"/>
                <a:gd name="T22" fmla="*/ 858 w 4064"/>
                <a:gd name="T23" fmla="*/ 2272 h 15665"/>
                <a:gd name="T24" fmla="*/ 878 w 4064"/>
                <a:gd name="T25" fmla="*/ 1739 h 15665"/>
                <a:gd name="T26" fmla="*/ 863 w 4064"/>
                <a:gd name="T27" fmla="*/ 1679 h 15665"/>
                <a:gd name="T28" fmla="*/ 778 w 4064"/>
                <a:gd name="T29" fmla="*/ 1623 h 15665"/>
                <a:gd name="T30" fmla="*/ 723 w 4064"/>
                <a:gd name="T31" fmla="*/ 1588 h 15665"/>
                <a:gd name="T32" fmla="*/ 688 w 4064"/>
                <a:gd name="T33" fmla="*/ 1498 h 15665"/>
                <a:gd name="T34" fmla="*/ 673 w 4064"/>
                <a:gd name="T35" fmla="*/ 1382 h 15665"/>
                <a:gd name="T36" fmla="*/ 657 w 4064"/>
                <a:gd name="T37" fmla="*/ 609 h 15665"/>
                <a:gd name="T38" fmla="*/ 673 w 4064"/>
                <a:gd name="T39" fmla="*/ 312 h 15665"/>
                <a:gd name="T40" fmla="*/ 718 w 4064"/>
                <a:gd name="T41" fmla="*/ 167 h 15665"/>
                <a:gd name="T42" fmla="*/ 813 w 4064"/>
                <a:gd name="T43" fmla="*/ 76 h 15665"/>
                <a:gd name="T44" fmla="*/ 894 w 4064"/>
                <a:gd name="T45" fmla="*/ 51 h 15665"/>
                <a:gd name="T46" fmla="*/ 1752 w 4064"/>
                <a:gd name="T47" fmla="*/ 5 h 15665"/>
                <a:gd name="T48" fmla="*/ 2607 w 4064"/>
                <a:gd name="T49" fmla="*/ 16 h 15665"/>
                <a:gd name="T50" fmla="*/ 3169 w 4064"/>
                <a:gd name="T51" fmla="*/ 51 h 15665"/>
                <a:gd name="T52" fmla="*/ 3285 w 4064"/>
                <a:gd name="T53" fmla="*/ 96 h 15665"/>
                <a:gd name="T54" fmla="*/ 3365 w 4064"/>
                <a:gd name="T55" fmla="*/ 212 h 15665"/>
                <a:gd name="T56" fmla="*/ 3385 w 4064"/>
                <a:gd name="T57" fmla="*/ 312 h 15665"/>
                <a:gd name="T58" fmla="*/ 3405 w 4064"/>
                <a:gd name="T59" fmla="*/ 885 h 15665"/>
                <a:gd name="T60" fmla="*/ 3385 w 4064"/>
                <a:gd name="T61" fmla="*/ 1382 h 15665"/>
                <a:gd name="T62" fmla="*/ 3365 w 4064"/>
                <a:gd name="T63" fmla="*/ 1533 h 15665"/>
                <a:gd name="T64" fmla="*/ 3315 w 4064"/>
                <a:gd name="T65" fmla="*/ 1608 h 15665"/>
                <a:gd name="T66" fmla="*/ 3234 w 4064"/>
                <a:gd name="T67" fmla="*/ 1638 h 15665"/>
                <a:gd name="T68" fmla="*/ 3184 w 4064"/>
                <a:gd name="T69" fmla="*/ 1709 h 15665"/>
                <a:gd name="T70" fmla="*/ 3179 w 4064"/>
                <a:gd name="T71" fmla="*/ 2201 h 15665"/>
                <a:gd name="T72" fmla="*/ 3205 w 4064"/>
                <a:gd name="T73" fmla="*/ 2272 h 15665"/>
                <a:gd name="T74" fmla="*/ 3526 w 4064"/>
                <a:gd name="T75" fmla="*/ 2774 h 15665"/>
                <a:gd name="T76" fmla="*/ 3797 w 4064"/>
                <a:gd name="T77" fmla="*/ 3306 h 15665"/>
                <a:gd name="T78" fmla="*/ 3948 w 4064"/>
                <a:gd name="T79" fmla="*/ 3688 h 15665"/>
                <a:gd name="T80" fmla="*/ 4008 w 4064"/>
                <a:gd name="T81" fmla="*/ 4256 h 15665"/>
                <a:gd name="T82" fmla="*/ 4033 w 4064"/>
                <a:gd name="T83" fmla="*/ 4939 h 15665"/>
                <a:gd name="T84" fmla="*/ 4063 w 4064"/>
                <a:gd name="T85" fmla="*/ 15297 h 15665"/>
                <a:gd name="T86" fmla="*/ 3973 w 4064"/>
                <a:gd name="T87" fmla="*/ 15453 h 15665"/>
                <a:gd name="T88" fmla="*/ 3893 w 4064"/>
                <a:gd name="T89" fmla="*/ 15554 h 15665"/>
                <a:gd name="T90" fmla="*/ 3782 w 4064"/>
                <a:gd name="T91" fmla="*/ 15624 h 15665"/>
                <a:gd name="T92" fmla="*/ 3641 w 4064"/>
                <a:gd name="T93" fmla="*/ 15659 h 15665"/>
                <a:gd name="T94" fmla="*/ 3466 w 4064"/>
                <a:gd name="T95" fmla="*/ 15659 h 15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64" h="15665">
                  <a:moveTo>
                    <a:pt x="597" y="15659"/>
                  </a:moveTo>
                  <a:lnTo>
                    <a:pt x="597" y="15659"/>
                  </a:lnTo>
                  <a:lnTo>
                    <a:pt x="532" y="15664"/>
                  </a:lnTo>
                  <a:lnTo>
                    <a:pt x="472" y="15664"/>
                  </a:lnTo>
                  <a:lnTo>
                    <a:pt x="416" y="15659"/>
                  </a:lnTo>
                  <a:lnTo>
                    <a:pt x="366" y="15654"/>
                  </a:lnTo>
                  <a:lnTo>
                    <a:pt x="321" y="15639"/>
                  </a:lnTo>
                  <a:lnTo>
                    <a:pt x="281" y="15624"/>
                  </a:lnTo>
                  <a:lnTo>
                    <a:pt x="240" y="15604"/>
                  </a:lnTo>
                  <a:lnTo>
                    <a:pt x="205" y="15579"/>
                  </a:lnTo>
                  <a:lnTo>
                    <a:pt x="170" y="15554"/>
                  </a:lnTo>
                  <a:lnTo>
                    <a:pt x="140" y="15524"/>
                  </a:lnTo>
                  <a:lnTo>
                    <a:pt x="110" y="15488"/>
                  </a:lnTo>
                  <a:lnTo>
                    <a:pt x="84" y="15453"/>
                  </a:lnTo>
                  <a:lnTo>
                    <a:pt x="39" y="15383"/>
                  </a:lnTo>
                  <a:lnTo>
                    <a:pt x="0" y="15297"/>
                  </a:lnTo>
                  <a:lnTo>
                    <a:pt x="29" y="5452"/>
                  </a:lnTo>
                  <a:lnTo>
                    <a:pt x="29" y="5452"/>
                  </a:lnTo>
                  <a:lnTo>
                    <a:pt x="25" y="5190"/>
                  </a:lnTo>
                  <a:lnTo>
                    <a:pt x="29" y="4939"/>
                  </a:lnTo>
                  <a:lnTo>
                    <a:pt x="34" y="4698"/>
                  </a:lnTo>
                  <a:lnTo>
                    <a:pt x="39" y="4472"/>
                  </a:lnTo>
                  <a:lnTo>
                    <a:pt x="55" y="4256"/>
                  </a:lnTo>
                  <a:lnTo>
                    <a:pt x="70" y="4055"/>
                  </a:lnTo>
                  <a:lnTo>
                    <a:pt x="90" y="3864"/>
                  </a:lnTo>
                  <a:lnTo>
                    <a:pt x="115" y="3688"/>
                  </a:lnTo>
                  <a:lnTo>
                    <a:pt x="115" y="3688"/>
                  </a:lnTo>
                  <a:lnTo>
                    <a:pt x="185" y="3497"/>
                  </a:lnTo>
                  <a:lnTo>
                    <a:pt x="260" y="3306"/>
                  </a:lnTo>
                  <a:lnTo>
                    <a:pt x="346" y="3125"/>
                  </a:lnTo>
                  <a:lnTo>
                    <a:pt x="436" y="2950"/>
                  </a:lnTo>
                  <a:lnTo>
                    <a:pt x="537" y="2774"/>
                  </a:lnTo>
                  <a:lnTo>
                    <a:pt x="637" y="2603"/>
                  </a:lnTo>
                  <a:lnTo>
                    <a:pt x="748" y="2437"/>
                  </a:lnTo>
                  <a:lnTo>
                    <a:pt x="858" y="2272"/>
                  </a:lnTo>
                  <a:lnTo>
                    <a:pt x="858" y="2272"/>
                  </a:lnTo>
                  <a:lnTo>
                    <a:pt x="873" y="2241"/>
                  </a:lnTo>
                  <a:lnTo>
                    <a:pt x="878" y="2201"/>
                  </a:lnTo>
                  <a:lnTo>
                    <a:pt x="878" y="1739"/>
                  </a:lnTo>
                  <a:lnTo>
                    <a:pt x="878" y="1739"/>
                  </a:lnTo>
                  <a:lnTo>
                    <a:pt x="878" y="1709"/>
                  </a:lnTo>
                  <a:lnTo>
                    <a:pt x="863" y="1679"/>
                  </a:lnTo>
                  <a:lnTo>
                    <a:pt x="848" y="1654"/>
                  </a:lnTo>
                  <a:lnTo>
                    <a:pt x="823" y="1638"/>
                  </a:lnTo>
                  <a:lnTo>
                    <a:pt x="778" y="1623"/>
                  </a:lnTo>
                  <a:lnTo>
                    <a:pt x="778" y="1623"/>
                  </a:lnTo>
                  <a:lnTo>
                    <a:pt x="748" y="1608"/>
                  </a:lnTo>
                  <a:lnTo>
                    <a:pt x="723" y="1588"/>
                  </a:lnTo>
                  <a:lnTo>
                    <a:pt x="707" y="1563"/>
                  </a:lnTo>
                  <a:lnTo>
                    <a:pt x="693" y="1533"/>
                  </a:lnTo>
                  <a:lnTo>
                    <a:pt x="688" y="1498"/>
                  </a:lnTo>
                  <a:lnTo>
                    <a:pt x="682" y="1463"/>
                  </a:lnTo>
                  <a:lnTo>
                    <a:pt x="673" y="1382"/>
                  </a:lnTo>
                  <a:lnTo>
                    <a:pt x="673" y="1382"/>
                  </a:lnTo>
                  <a:lnTo>
                    <a:pt x="662" y="1141"/>
                  </a:lnTo>
                  <a:lnTo>
                    <a:pt x="657" y="885"/>
                  </a:lnTo>
                  <a:lnTo>
                    <a:pt x="657" y="609"/>
                  </a:lnTo>
                  <a:lnTo>
                    <a:pt x="662" y="463"/>
                  </a:lnTo>
                  <a:lnTo>
                    <a:pt x="673" y="312"/>
                  </a:lnTo>
                  <a:lnTo>
                    <a:pt x="673" y="312"/>
                  </a:lnTo>
                  <a:lnTo>
                    <a:pt x="682" y="262"/>
                  </a:lnTo>
                  <a:lnTo>
                    <a:pt x="698" y="212"/>
                  </a:lnTo>
                  <a:lnTo>
                    <a:pt x="718" y="167"/>
                  </a:lnTo>
                  <a:lnTo>
                    <a:pt x="743" y="131"/>
                  </a:lnTo>
                  <a:lnTo>
                    <a:pt x="773" y="96"/>
                  </a:lnTo>
                  <a:lnTo>
                    <a:pt x="813" y="76"/>
                  </a:lnTo>
                  <a:lnTo>
                    <a:pt x="848" y="56"/>
                  </a:lnTo>
                  <a:lnTo>
                    <a:pt x="894" y="51"/>
                  </a:lnTo>
                  <a:lnTo>
                    <a:pt x="894" y="51"/>
                  </a:lnTo>
                  <a:lnTo>
                    <a:pt x="1180" y="31"/>
                  </a:lnTo>
                  <a:lnTo>
                    <a:pt x="1466" y="16"/>
                  </a:lnTo>
                  <a:lnTo>
                    <a:pt x="1752" y="5"/>
                  </a:lnTo>
                  <a:lnTo>
                    <a:pt x="2039" y="0"/>
                  </a:lnTo>
                  <a:lnTo>
                    <a:pt x="2325" y="5"/>
                  </a:lnTo>
                  <a:lnTo>
                    <a:pt x="2607" y="16"/>
                  </a:lnTo>
                  <a:lnTo>
                    <a:pt x="2888" y="31"/>
                  </a:lnTo>
                  <a:lnTo>
                    <a:pt x="3169" y="51"/>
                  </a:lnTo>
                  <a:lnTo>
                    <a:pt x="3169" y="51"/>
                  </a:lnTo>
                  <a:lnTo>
                    <a:pt x="3209" y="56"/>
                  </a:lnTo>
                  <a:lnTo>
                    <a:pt x="3250" y="76"/>
                  </a:lnTo>
                  <a:lnTo>
                    <a:pt x="3285" y="96"/>
                  </a:lnTo>
                  <a:lnTo>
                    <a:pt x="3315" y="131"/>
                  </a:lnTo>
                  <a:lnTo>
                    <a:pt x="3345" y="167"/>
                  </a:lnTo>
                  <a:lnTo>
                    <a:pt x="3365" y="212"/>
                  </a:lnTo>
                  <a:lnTo>
                    <a:pt x="3380" y="262"/>
                  </a:lnTo>
                  <a:lnTo>
                    <a:pt x="3385" y="312"/>
                  </a:lnTo>
                  <a:lnTo>
                    <a:pt x="3385" y="312"/>
                  </a:lnTo>
                  <a:lnTo>
                    <a:pt x="3395" y="463"/>
                  </a:lnTo>
                  <a:lnTo>
                    <a:pt x="3401" y="609"/>
                  </a:lnTo>
                  <a:lnTo>
                    <a:pt x="3405" y="885"/>
                  </a:lnTo>
                  <a:lnTo>
                    <a:pt x="3401" y="1141"/>
                  </a:lnTo>
                  <a:lnTo>
                    <a:pt x="3385" y="1382"/>
                  </a:lnTo>
                  <a:lnTo>
                    <a:pt x="3385" y="1382"/>
                  </a:lnTo>
                  <a:lnTo>
                    <a:pt x="3380" y="1463"/>
                  </a:lnTo>
                  <a:lnTo>
                    <a:pt x="3375" y="1498"/>
                  </a:lnTo>
                  <a:lnTo>
                    <a:pt x="3365" y="1533"/>
                  </a:lnTo>
                  <a:lnTo>
                    <a:pt x="3355" y="1563"/>
                  </a:lnTo>
                  <a:lnTo>
                    <a:pt x="3335" y="1588"/>
                  </a:lnTo>
                  <a:lnTo>
                    <a:pt x="3315" y="1608"/>
                  </a:lnTo>
                  <a:lnTo>
                    <a:pt x="3285" y="1623"/>
                  </a:lnTo>
                  <a:lnTo>
                    <a:pt x="3234" y="1638"/>
                  </a:lnTo>
                  <a:lnTo>
                    <a:pt x="3234" y="1638"/>
                  </a:lnTo>
                  <a:lnTo>
                    <a:pt x="3214" y="1654"/>
                  </a:lnTo>
                  <a:lnTo>
                    <a:pt x="3194" y="1679"/>
                  </a:lnTo>
                  <a:lnTo>
                    <a:pt x="3184" y="1709"/>
                  </a:lnTo>
                  <a:lnTo>
                    <a:pt x="3179" y="1739"/>
                  </a:lnTo>
                  <a:lnTo>
                    <a:pt x="3179" y="2201"/>
                  </a:lnTo>
                  <a:lnTo>
                    <a:pt x="3179" y="2201"/>
                  </a:lnTo>
                  <a:lnTo>
                    <a:pt x="3184" y="2241"/>
                  </a:lnTo>
                  <a:lnTo>
                    <a:pt x="3205" y="2272"/>
                  </a:lnTo>
                  <a:lnTo>
                    <a:pt x="3205" y="2272"/>
                  </a:lnTo>
                  <a:lnTo>
                    <a:pt x="3315" y="2437"/>
                  </a:lnTo>
                  <a:lnTo>
                    <a:pt x="3421" y="2603"/>
                  </a:lnTo>
                  <a:lnTo>
                    <a:pt x="3526" y="2774"/>
                  </a:lnTo>
                  <a:lnTo>
                    <a:pt x="3622" y="2950"/>
                  </a:lnTo>
                  <a:lnTo>
                    <a:pt x="3712" y="3125"/>
                  </a:lnTo>
                  <a:lnTo>
                    <a:pt x="3797" y="3306"/>
                  </a:lnTo>
                  <a:lnTo>
                    <a:pt x="3878" y="3497"/>
                  </a:lnTo>
                  <a:lnTo>
                    <a:pt x="3948" y="3688"/>
                  </a:lnTo>
                  <a:lnTo>
                    <a:pt x="3948" y="3688"/>
                  </a:lnTo>
                  <a:lnTo>
                    <a:pt x="3973" y="3864"/>
                  </a:lnTo>
                  <a:lnTo>
                    <a:pt x="3988" y="4055"/>
                  </a:lnTo>
                  <a:lnTo>
                    <a:pt x="4008" y="4256"/>
                  </a:lnTo>
                  <a:lnTo>
                    <a:pt x="4018" y="4472"/>
                  </a:lnTo>
                  <a:lnTo>
                    <a:pt x="4028" y="4698"/>
                  </a:lnTo>
                  <a:lnTo>
                    <a:pt x="4033" y="4939"/>
                  </a:lnTo>
                  <a:lnTo>
                    <a:pt x="4033" y="5190"/>
                  </a:lnTo>
                  <a:lnTo>
                    <a:pt x="4033" y="5452"/>
                  </a:lnTo>
                  <a:lnTo>
                    <a:pt x="4063" y="15297"/>
                  </a:lnTo>
                  <a:lnTo>
                    <a:pt x="4063" y="15297"/>
                  </a:lnTo>
                  <a:lnTo>
                    <a:pt x="4023" y="15383"/>
                  </a:lnTo>
                  <a:lnTo>
                    <a:pt x="3973" y="15453"/>
                  </a:lnTo>
                  <a:lnTo>
                    <a:pt x="3948" y="15488"/>
                  </a:lnTo>
                  <a:lnTo>
                    <a:pt x="3923" y="15524"/>
                  </a:lnTo>
                  <a:lnTo>
                    <a:pt x="3893" y="15554"/>
                  </a:lnTo>
                  <a:lnTo>
                    <a:pt x="3857" y="15579"/>
                  </a:lnTo>
                  <a:lnTo>
                    <a:pt x="3823" y="15604"/>
                  </a:lnTo>
                  <a:lnTo>
                    <a:pt x="3782" y="15624"/>
                  </a:lnTo>
                  <a:lnTo>
                    <a:pt x="3737" y="15639"/>
                  </a:lnTo>
                  <a:lnTo>
                    <a:pt x="3692" y="15654"/>
                  </a:lnTo>
                  <a:lnTo>
                    <a:pt x="3641" y="15659"/>
                  </a:lnTo>
                  <a:lnTo>
                    <a:pt x="3586" y="15664"/>
                  </a:lnTo>
                  <a:lnTo>
                    <a:pt x="3531" y="15664"/>
                  </a:lnTo>
                  <a:lnTo>
                    <a:pt x="3466" y="15659"/>
                  </a:lnTo>
                  <a:lnTo>
                    <a:pt x="597" y="15659"/>
                  </a:lnTo>
                </a:path>
              </a:pathLst>
            </a:custGeom>
            <a:noFill/>
            <a:ln w="12700">
              <a:solidFill>
                <a:schemeClr val="bg1">
                  <a:alpha val="30000"/>
                </a:schemeClr>
              </a:solidFill>
            </a:ln>
            <a:effectLst/>
          </p:spPr>
          <p:txBody>
            <a:bodyPr wrap="none" anchor="ctr"/>
            <a:lstStyle/>
            <a:p>
              <a:endParaRPr lang="en-US" sz="1709"/>
            </a:p>
          </p:txBody>
        </p:sp>
        <p:sp>
          <p:nvSpPr>
            <p:cNvPr id="12" name="Freeform 11">
              <a:extLst>
                <a:ext uri="{FF2B5EF4-FFF2-40B4-BE49-F238E27FC236}">
                  <a16:creationId xmlns:a16="http://schemas.microsoft.com/office/drawing/2014/main" id="{8BC78292-2A03-F04A-A6D1-332228F8707F}"/>
                </a:ext>
              </a:extLst>
            </p:cNvPr>
            <p:cNvSpPr>
              <a:spLocks noChangeArrowheads="1"/>
            </p:cNvSpPr>
            <p:nvPr/>
          </p:nvSpPr>
          <p:spPr bwMode="auto">
            <a:xfrm>
              <a:off x="4987615" y="1249543"/>
              <a:ext cx="1285437" cy="4573662"/>
            </a:xfrm>
            <a:custGeom>
              <a:avLst/>
              <a:gdLst>
                <a:gd name="T0" fmla="*/ 693 w 5090"/>
                <a:gd name="T1" fmla="*/ 18085 h 18106"/>
                <a:gd name="T2" fmla="*/ 357 w 5090"/>
                <a:gd name="T3" fmla="*/ 17965 h 18106"/>
                <a:gd name="T4" fmla="*/ 116 w 5090"/>
                <a:gd name="T5" fmla="*/ 17739 h 18106"/>
                <a:gd name="T6" fmla="*/ 20 w 5090"/>
                <a:gd name="T7" fmla="*/ 16734 h 18106"/>
                <a:gd name="T8" fmla="*/ 71 w 5090"/>
                <a:gd name="T9" fmla="*/ 16608 h 18106"/>
                <a:gd name="T10" fmla="*/ 20 w 5090"/>
                <a:gd name="T11" fmla="*/ 16397 h 18106"/>
                <a:gd name="T12" fmla="*/ 136 w 5090"/>
                <a:gd name="T13" fmla="*/ 14704 h 18106"/>
                <a:gd name="T14" fmla="*/ 397 w 5090"/>
                <a:gd name="T15" fmla="*/ 13111 h 18106"/>
                <a:gd name="T16" fmla="*/ 447 w 5090"/>
                <a:gd name="T17" fmla="*/ 11243 h 18106"/>
                <a:gd name="T18" fmla="*/ 277 w 5090"/>
                <a:gd name="T19" fmla="*/ 9274 h 18106"/>
                <a:gd name="T20" fmla="*/ 91 w 5090"/>
                <a:gd name="T21" fmla="*/ 8164 h 18106"/>
                <a:gd name="T22" fmla="*/ 0 w 5090"/>
                <a:gd name="T23" fmla="*/ 6983 h 18106"/>
                <a:gd name="T24" fmla="*/ 61 w 5090"/>
                <a:gd name="T25" fmla="*/ 5813 h 18106"/>
                <a:gd name="T26" fmla="*/ 216 w 5090"/>
                <a:gd name="T27" fmla="*/ 5004 h 18106"/>
                <a:gd name="T28" fmla="*/ 478 w 5090"/>
                <a:gd name="T29" fmla="*/ 4476 h 18106"/>
                <a:gd name="T30" fmla="*/ 830 w 5090"/>
                <a:gd name="T31" fmla="*/ 3994 h 18106"/>
                <a:gd name="T32" fmla="*/ 1277 w 5090"/>
                <a:gd name="T33" fmla="*/ 3547 h 18106"/>
                <a:gd name="T34" fmla="*/ 1252 w 5090"/>
                <a:gd name="T35" fmla="*/ 3276 h 18106"/>
                <a:gd name="T36" fmla="*/ 1106 w 5090"/>
                <a:gd name="T37" fmla="*/ 3125 h 18106"/>
                <a:gd name="T38" fmla="*/ 1065 w 5090"/>
                <a:gd name="T39" fmla="*/ 2311 h 18106"/>
                <a:gd name="T40" fmla="*/ 1126 w 5090"/>
                <a:gd name="T41" fmla="*/ 1793 h 18106"/>
                <a:gd name="T42" fmla="*/ 1201 w 5090"/>
                <a:gd name="T43" fmla="*/ 1618 h 18106"/>
                <a:gd name="T44" fmla="*/ 1537 w 5090"/>
                <a:gd name="T45" fmla="*/ 1597 h 18106"/>
                <a:gd name="T46" fmla="*/ 1573 w 5090"/>
                <a:gd name="T47" fmla="*/ 1351 h 18106"/>
                <a:gd name="T48" fmla="*/ 1668 w 5090"/>
                <a:gd name="T49" fmla="*/ 1161 h 18106"/>
                <a:gd name="T50" fmla="*/ 1764 w 5090"/>
                <a:gd name="T51" fmla="*/ 935 h 18106"/>
                <a:gd name="T52" fmla="*/ 1738 w 5090"/>
                <a:gd name="T53" fmla="*/ 327 h 18106"/>
                <a:gd name="T54" fmla="*/ 1779 w 5090"/>
                <a:gd name="T55" fmla="*/ 46 h 18106"/>
                <a:gd name="T56" fmla="*/ 2543 w 5090"/>
                <a:gd name="T57" fmla="*/ 0 h 18106"/>
                <a:gd name="T58" fmla="*/ 3286 w 5090"/>
                <a:gd name="T59" fmla="*/ 20 h 18106"/>
                <a:gd name="T60" fmla="*/ 3336 w 5090"/>
                <a:gd name="T61" fmla="*/ 201 h 18106"/>
                <a:gd name="T62" fmla="*/ 3341 w 5090"/>
                <a:gd name="T63" fmla="*/ 814 h 18106"/>
                <a:gd name="T64" fmla="*/ 3387 w 5090"/>
                <a:gd name="T65" fmla="*/ 1125 h 18106"/>
                <a:gd name="T66" fmla="*/ 3507 w 5090"/>
                <a:gd name="T67" fmla="*/ 1312 h 18106"/>
                <a:gd name="T68" fmla="*/ 3532 w 5090"/>
                <a:gd name="T69" fmla="*/ 1588 h 18106"/>
                <a:gd name="T70" fmla="*/ 3869 w 5090"/>
                <a:gd name="T71" fmla="*/ 1608 h 18106"/>
                <a:gd name="T72" fmla="*/ 3939 w 5090"/>
                <a:gd name="T73" fmla="*/ 1723 h 18106"/>
                <a:gd name="T74" fmla="*/ 4010 w 5090"/>
                <a:gd name="T75" fmla="*/ 2125 h 18106"/>
                <a:gd name="T76" fmla="*/ 3979 w 5090"/>
                <a:gd name="T77" fmla="*/ 3125 h 18106"/>
                <a:gd name="T78" fmla="*/ 3859 w 5090"/>
                <a:gd name="T79" fmla="*/ 3240 h 18106"/>
                <a:gd name="T80" fmla="*/ 3814 w 5090"/>
                <a:gd name="T81" fmla="*/ 3547 h 18106"/>
                <a:gd name="T82" fmla="*/ 4175 w 5090"/>
                <a:gd name="T83" fmla="*/ 3903 h 18106"/>
                <a:gd name="T84" fmla="*/ 4547 w 5090"/>
                <a:gd name="T85" fmla="*/ 4376 h 18106"/>
                <a:gd name="T86" fmla="*/ 4828 w 5090"/>
                <a:gd name="T87" fmla="*/ 4893 h 18106"/>
                <a:gd name="T88" fmla="*/ 4994 w 5090"/>
                <a:gd name="T89" fmla="*/ 5577 h 18106"/>
                <a:gd name="T90" fmla="*/ 5089 w 5090"/>
                <a:gd name="T91" fmla="*/ 6752 h 18106"/>
                <a:gd name="T92" fmla="*/ 5029 w 5090"/>
                <a:gd name="T93" fmla="*/ 7928 h 18106"/>
                <a:gd name="T94" fmla="*/ 4868 w 5090"/>
                <a:gd name="T95" fmla="*/ 8872 h 18106"/>
                <a:gd name="T96" fmla="*/ 4658 w 5090"/>
                <a:gd name="T97" fmla="*/ 10855 h 18106"/>
                <a:gd name="T98" fmla="*/ 4662 w 5090"/>
                <a:gd name="T99" fmla="*/ 12745 h 18106"/>
                <a:gd name="T100" fmla="*/ 4913 w 5090"/>
                <a:gd name="T101" fmla="*/ 14533 h 18106"/>
                <a:gd name="T102" fmla="*/ 5064 w 5090"/>
                <a:gd name="T103" fmla="*/ 16397 h 18106"/>
                <a:gd name="T104" fmla="*/ 5014 w 5090"/>
                <a:gd name="T105" fmla="*/ 16563 h 18106"/>
                <a:gd name="T106" fmla="*/ 5069 w 5090"/>
                <a:gd name="T107" fmla="*/ 16734 h 18106"/>
                <a:gd name="T108" fmla="*/ 5004 w 5090"/>
                <a:gd name="T109" fmla="*/ 17673 h 18106"/>
                <a:gd name="T110" fmla="*/ 4788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3" y="18105"/>
                  </a:moveTo>
                  <a:lnTo>
                    <a:pt x="855" y="18105"/>
                  </a:lnTo>
                  <a:lnTo>
                    <a:pt x="855" y="18105"/>
                  </a:lnTo>
                  <a:lnTo>
                    <a:pt x="774" y="18095"/>
                  </a:lnTo>
                  <a:lnTo>
                    <a:pt x="693" y="18085"/>
                  </a:lnTo>
                  <a:lnTo>
                    <a:pt x="623" y="18070"/>
                  </a:lnTo>
                  <a:lnTo>
                    <a:pt x="548" y="18050"/>
                  </a:lnTo>
                  <a:lnTo>
                    <a:pt x="483" y="18025"/>
                  </a:lnTo>
                  <a:lnTo>
                    <a:pt x="417" y="18000"/>
                  </a:lnTo>
                  <a:lnTo>
                    <a:pt x="357" y="17965"/>
                  </a:lnTo>
                  <a:lnTo>
                    <a:pt x="302" y="17929"/>
                  </a:lnTo>
                  <a:lnTo>
                    <a:pt x="246" y="17889"/>
                  </a:lnTo>
                  <a:lnTo>
                    <a:pt x="201" y="17844"/>
                  </a:lnTo>
                  <a:lnTo>
                    <a:pt x="156" y="17794"/>
                  </a:lnTo>
                  <a:lnTo>
                    <a:pt x="116" y="17739"/>
                  </a:lnTo>
                  <a:lnTo>
                    <a:pt x="86" y="17673"/>
                  </a:lnTo>
                  <a:lnTo>
                    <a:pt x="56" y="17608"/>
                  </a:lnTo>
                  <a:lnTo>
                    <a:pt x="36" y="17532"/>
                  </a:lnTo>
                  <a:lnTo>
                    <a:pt x="20" y="17452"/>
                  </a:lnTo>
                  <a:lnTo>
                    <a:pt x="20" y="16734"/>
                  </a:lnTo>
                  <a:lnTo>
                    <a:pt x="20" y="16729"/>
                  </a:lnTo>
                  <a:lnTo>
                    <a:pt x="20" y="16729"/>
                  </a:lnTo>
                  <a:lnTo>
                    <a:pt x="46" y="16688"/>
                  </a:lnTo>
                  <a:lnTo>
                    <a:pt x="61" y="16649"/>
                  </a:lnTo>
                  <a:lnTo>
                    <a:pt x="71" y="16608"/>
                  </a:lnTo>
                  <a:lnTo>
                    <a:pt x="71" y="16563"/>
                  </a:lnTo>
                  <a:lnTo>
                    <a:pt x="71" y="16523"/>
                  </a:lnTo>
                  <a:lnTo>
                    <a:pt x="61" y="16478"/>
                  </a:lnTo>
                  <a:lnTo>
                    <a:pt x="46" y="16437"/>
                  </a:lnTo>
                  <a:lnTo>
                    <a:pt x="20" y="16397"/>
                  </a:lnTo>
                  <a:lnTo>
                    <a:pt x="20" y="16397"/>
                  </a:lnTo>
                  <a:lnTo>
                    <a:pt x="20" y="15508"/>
                  </a:lnTo>
                  <a:lnTo>
                    <a:pt x="91" y="14875"/>
                  </a:lnTo>
                  <a:lnTo>
                    <a:pt x="91" y="14875"/>
                  </a:lnTo>
                  <a:lnTo>
                    <a:pt x="136" y="14704"/>
                  </a:lnTo>
                  <a:lnTo>
                    <a:pt x="176" y="14533"/>
                  </a:lnTo>
                  <a:lnTo>
                    <a:pt x="246" y="14181"/>
                  </a:lnTo>
                  <a:lnTo>
                    <a:pt x="307" y="13830"/>
                  </a:lnTo>
                  <a:lnTo>
                    <a:pt x="357" y="13474"/>
                  </a:lnTo>
                  <a:lnTo>
                    <a:pt x="397" y="13111"/>
                  </a:lnTo>
                  <a:lnTo>
                    <a:pt x="428" y="12745"/>
                  </a:lnTo>
                  <a:lnTo>
                    <a:pt x="447" y="12378"/>
                  </a:lnTo>
                  <a:lnTo>
                    <a:pt x="458" y="12001"/>
                  </a:lnTo>
                  <a:lnTo>
                    <a:pt x="458" y="11624"/>
                  </a:lnTo>
                  <a:lnTo>
                    <a:pt x="447" y="11243"/>
                  </a:lnTo>
                  <a:lnTo>
                    <a:pt x="433" y="10855"/>
                  </a:lnTo>
                  <a:lnTo>
                    <a:pt x="402" y="10464"/>
                  </a:lnTo>
                  <a:lnTo>
                    <a:pt x="372" y="10072"/>
                  </a:lnTo>
                  <a:lnTo>
                    <a:pt x="327" y="9676"/>
                  </a:lnTo>
                  <a:lnTo>
                    <a:pt x="277" y="9274"/>
                  </a:lnTo>
                  <a:lnTo>
                    <a:pt x="221" y="8872"/>
                  </a:lnTo>
                  <a:lnTo>
                    <a:pt x="221" y="8872"/>
                  </a:lnTo>
                  <a:lnTo>
                    <a:pt x="171" y="8636"/>
                  </a:lnTo>
                  <a:lnTo>
                    <a:pt x="126" y="8400"/>
                  </a:lnTo>
                  <a:lnTo>
                    <a:pt x="91" y="8164"/>
                  </a:lnTo>
                  <a:lnTo>
                    <a:pt x="61" y="7928"/>
                  </a:lnTo>
                  <a:lnTo>
                    <a:pt x="36" y="7692"/>
                  </a:lnTo>
                  <a:lnTo>
                    <a:pt x="16" y="7455"/>
                  </a:lnTo>
                  <a:lnTo>
                    <a:pt x="6" y="7220"/>
                  </a:lnTo>
                  <a:lnTo>
                    <a:pt x="0" y="6983"/>
                  </a:lnTo>
                  <a:lnTo>
                    <a:pt x="0" y="6752"/>
                  </a:lnTo>
                  <a:lnTo>
                    <a:pt x="6" y="6516"/>
                  </a:lnTo>
                  <a:lnTo>
                    <a:pt x="16" y="6280"/>
                  </a:lnTo>
                  <a:lnTo>
                    <a:pt x="36" y="6049"/>
                  </a:lnTo>
                  <a:lnTo>
                    <a:pt x="61" y="5813"/>
                  </a:lnTo>
                  <a:lnTo>
                    <a:pt x="96" y="5577"/>
                  </a:lnTo>
                  <a:lnTo>
                    <a:pt x="131" y="5345"/>
                  </a:lnTo>
                  <a:lnTo>
                    <a:pt x="176" y="5110"/>
                  </a:lnTo>
                  <a:lnTo>
                    <a:pt x="176" y="5110"/>
                  </a:lnTo>
                  <a:lnTo>
                    <a:pt x="216" y="5004"/>
                  </a:lnTo>
                  <a:lnTo>
                    <a:pt x="262" y="4893"/>
                  </a:lnTo>
                  <a:lnTo>
                    <a:pt x="307" y="4788"/>
                  </a:lnTo>
                  <a:lnTo>
                    <a:pt x="362" y="4682"/>
                  </a:lnTo>
                  <a:lnTo>
                    <a:pt x="417" y="4577"/>
                  </a:lnTo>
                  <a:lnTo>
                    <a:pt x="478" y="4476"/>
                  </a:lnTo>
                  <a:lnTo>
                    <a:pt x="538" y="4376"/>
                  </a:lnTo>
                  <a:lnTo>
                    <a:pt x="609" y="4280"/>
                  </a:lnTo>
                  <a:lnTo>
                    <a:pt x="679" y="4185"/>
                  </a:lnTo>
                  <a:lnTo>
                    <a:pt x="754" y="4090"/>
                  </a:lnTo>
                  <a:lnTo>
                    <a:pt x="830" y="3994"/>
                  </a:lnTo>
                  <a:lnTo>
                    <a:pt x="915" y="3903"/>
                  </a:lnTo>
                  <a:lnTo>
                    <a:pt x="1000" y="3813"/>
                  </a:lnTo>
                  <a:lnTo>
                    <a:pt x="1090" y="3723"/>
                  </a:lnTo>
                  <a:lnTo>
                    <a:pt x="1181" y="3632"/>
                  </a:lnTo>
                  <a:lnTo>
                    <a:pt x="1277" y="3547"/>
                  </a:lnTo>
                  <a:lnTo>
                    <a:pt x="1277" y="3401"/>
                  </a:lnTo>
                  <a:lnTo>
                    <a:pt x="1277" y="3401"/>
                  </a:lnTo>
                  <a:lnTo>
                    <a:pt x="1271" y="3356"/>
                  </a:lnTo>
                  <a:lnTo>
                    <a:pt x="1266" y="3316"/>
                  </a:lnTo>
                  <a:lnTo>
                    <a:pt x="1252" y="3276"/>
                  </a:lnTo>
                  <a:lnTo>
                    <a:pt x="1231" y="3240"/>
                  </a:lnTo>
                  <a:lnTo>
                    <a:pt x="1206" y="3205"/>
                  </a:lnTo>
                  <a:lnTo>
                    <a:pt x="1176" y="3175"/>
                  </a:lnTo>
                  <a:lnTo>
                    <a:pt x="1146" y="3145"/>
                  </a:lnTo>
                  <a:lnTo>
                    <a:pt x="1106" y="3125"/>
                  </a:lnTo>
                  <a:lnTo>
                    <a:pt x="1106" y="3125"/>
                  </a:lnTo>
                  <a:lnTo>
                    <a:pt x="1086" y="2914"/>
                  </a:lnTo>
                  <a:lnTo>
                    <a:pt x="1076" y="2708"/>
                  </a:lnTo>
                  <a:lnTo>
                    <a:pt x="1065" y="2502"/>
                  </a:lnTo>
                  <a:lnTo>
                    <a:pt x="1065" y="2311"/>
                  </a:lnTo>
                  <a:lnTo>
                    <a:pt x="1076" y="2125"/>
                  </a:lnTo>
                  <a:lnTo>
                    <a:pt x="1086" y="2040"/>
                  </a:lnTo>
                  <a:lnTo>
                    <a:pt x="1096" y="1955"/>
                  </a:lnTo>
                  <a:lnTo>
                    <a:pt x="1111" y="1874"/>
                  </a:lnTo>
                  <a:lnTo>
                    <a:pt x="1126" y="1793"/>
                  </a:lnTo>
                  <a:lnTo>
                    <a:pt x="1146" y="1723"/>
                  </a:lnTo>
                  <a:lnTo>
                    <a:pt x="1171" y="1653"/>
                  </a:lnTo>
                  <a:lnTo>
                    <a:pt x="1171" y="1653"/>
                  </a:lnTo>
                  <a:lnTo>
                    <a:pt x="1181" y="1633"/>
                  </a:lnTo>
                  <a:lnTo>
                    <a:pt x="1201" y="1618"/>
                  </a:lnTo>
                  <a:lnTo>
                    <a:pt x="1221" y="1608"/>
                  </a:lnTo>
                  <a:lnTo>
                    <a:pt x="1241" y="1603"/>
                  </a:lnTo>
                  <a:lnTo>
                    <a:pt x="1512" y="1603"/>
                  </a:lnTo>
                  <a:lnTo>
                    <a:pt x="1512" y="1603"/>
                  </a:lnTo>
                  <a:lnTo>
                    <a:pt x="1537" y="1597"/>
                  </a:lnTo>
                  <a:lnTo>
                    <a:pt x="1553" y="1588"/>
                  </a:lnTo>
                  <a:lnTo>
                    <a:pt x="1568" y="1567"/>
                  </a:lnTo>
                  <a:lnTo>
                    <a:pt x="1573" y="1542"/>
                  </a:lnTo>
                  <a:lnTo>
                    <a:pt x="1573" y="1351"/>
                  </a:lnTo>
                  <a:lnTo>
                    <a:pt x="1573" y="1351"/>
                  </a:lnTo>
                  <a:lnTo>
                    <a:pt x="1578" y="1312"/>
                  </a:lnTo>
                  <a:lnTo>
                    <a:pt x="1593" y="1271"/>
                  </a:lnTo>
                  <a:lnTo>
                    <a:pt x="1613" y="1236"/>
                  </a:lnTo>
                  <a:lnTo>
                    <a:pt x="1638" y="1196"/>
                  </a:lnTo>
                  <a:lnTo>
                    <a:pt x="1668" y="1161"/>
                  </a:lnTo>
                  <a:lnTo>
                    <a:pt x="1704" y="1125"/>
                  </a:lnTo>
                  <a:lnTo>
                    <a:pt x="1738" y="1090"/>
                  </a:lnTo>
                  <a:lnTo>
                    <a:pt x="1784" y="1055"/>
                  </a:lnTo>
                  <a:lnTo>
                    <a:pt x="1784" y="1055"/>
                  </a:lnTo>
                  <a:lnTo>
                    <a:pt x="1764" y="935"/>
                  </a:lnTo>
                  <a:lnTo>
                    <a:pt x="1744" y="814"/>
                  </a:lnTo>
                  <a:lnTo>
                    <a:pt x="1734" y="694"/>
                  </a:lnTo>
                  <a:lnTo>
                    <a:pt x="1729" y="568"/>
                  </a:lnTo>
                  <a:lnTo>
                    <a:pt x="1734" y="447"/>
                  </a:lnTo>
                  <a:lnTo>
                    <a:pt x="1738" y="327"/>
                  </a:lnTo>
                  <a:lnTo>
                    <a:pt x="1749" y="201"/>
                  </a:lnTo>
                  <a:lnTo>
                    <a:pt x="1769" y="80"/>
                  </a:lnTo>
                  <a:lnTo>
                    <a:pt x="1769" y="80"/>
                  </a:lnTo>
                  <a:lnTo>
                    <a:pt x="1774" y="60"/>
                  </a:lnTo>
                  <a:lnTo>
                    <a:pt x="1779" y="46"/>
                  </a:lnTo>
                  <a:lnTo>
                    <a:pt x="1804" y="20"/>
                  </a:lnTo>
                  <a:lnTo>
                    <a:pt x="1829" y="5"/>
                  </a:lnTo>
                  <a:lnTo>
                    <a:pt x="1849" y="0"/>
                  </a:lnTo>
                  <a:lnTo>
                    <a:pt x="1864" y="0"/>
                  </a:lnTo>
                  <a:lnTo>
                    <a:pt x="2543" y="0"/>
                  </a:lnTo>
                  <a:lnTo>
                    <a:pt x="3221" y="0"/>
                  </a:lnTo>
                  <a:lnTo>
                    <a:pt x="3221" y="0"/>
                  </a:lnTo>
                  <a:lnTo>
                    <a:pt x="3241" y="0"/>
                  </a:lnTo>
                  <a:lnTo>
                    <a:pt x="3256" y="5"/>
                  </a:lnTo>
                  <a:lnTo>
                    <a:pt x="3286" y="20"/>
                  </a:lnTo>
                  <a:lnTo>
                    <a:pt x="3306" y="46"/>
                  </a:lnTo>
                  <a:lnTo>
                    <a:pt x="3316" y="60"/>
                  </a:lnTo>
                  <a:lnTo>
                    <a:pt x="3321" y="80"/>
                  </a:lnTo>
                  <a:lnTo>
                    <a:pt x="3321" y="80"/>
                  </a:lnTo>
                  <a:lnTo>
                    <a:pt x="3336" y="201"/>
                  </a:lnTo>
                  <a:lnTo>
                    <a:pt x="3351" y="327"/>
                  </a:lnTo>
                  <a:lnTo>
                    <a:pt x="3356" y="447"/>
                  </a:lnTo>
                  <a:lnTo>
                    <a:pt x="3356" y="568"/>
                  </a:lnTo>
                  <a:lnTo>
                    <a:pt x="3351" y="694"/>
                  </a:lnTo>
                  <a:lnTo>
                    <a:pt x="3341" y="814"/>
                  </a:lnTo>
                  <a:lnTo>
                    <a:pt x="3326" y="935"/>
                  </a:lnTo>
                  <a:lnTo>
                    <a:pt x="3306" y="1055"/>
                  </a:lnTo>
                  <a:lnTo>
                    <a:pt x="3306" y="1055"/>
                  </a:lnTo>
                  <a:lnTo>
                    <a:pt x="3346" y="1090"/>
                  </a:lnTo>
                  <a:lnTo>
                    <a:pt x="3387" y="1125"/>
                  </a:lnTo>
                  <a:lnTo>
                    <a:pt x="3421" y="1161"/>
                  </a:lnTo>
                  <a:lnTo>
                    <a:pt x="3452" y="1196"/>
                  </a:lnTo>
                  <a:lnTo>
                    <a:pt x="3477" y="1236"/>
                  </a:lnTo>
                  <a:lnTo>
                    <a:pt x="3497" y="1271"/>
                  </a:lnTo>
                  <a:lnTo>
                    <a:pt x="3507" y="1312"/>
                  </a:lnTo>
                  <a:lnTo>
                    <a:pt x="3517" y="1351"/>
                  </a:lnTo>
                  <a:lnTo>
                    <a:pt x="3517" y="1542"/>
                  </a:lnTo>
                  <a:lnTo>
                    <a:pt x="3517" y="1542"/>
                  </a:lnTo>
                  <a:lnTo>
                    <a:pt x="3522" y="1567"/>
                  </a:lnTo>
                  <a:lnTo>
                    <a:pt x="3532" y="1588"/>
                  </a:lnTo>
                  <a:lnTo>
                    <a:pt x="3552" y="1597"/>
                  </a:lnTo>
                  <a:lnTo>
                    <a:pt x="3577" y="1603"/>
                  </a:lnTo>
                  <a:lnTo>
                    <a:pt x="3843" y="1603"/>
                  </a:lnTo>
                  <a:lnTo>
                    <a:pt x="3843" y="1603"/>
                  </a:lnTo>
                  <a:lnTo>
                    <a:pt x="3869" y="1608"/>
                  </a:lnTo>
                  <a:lnTo>
                    <a:pt x="3889" y="1618"/>
                  </a:lnTo>
                  <a:lnTo>
                    <a:pt x="3904" y="1633"/>
                  </a:lnTo>
                  <a:lnTo>
                    <a:pt x="3919" y="1653"/>
                  </a:lnTo>
                  <a:lnTo>
                    <a:pt x="3919" y="1653"/>
                  </a:lnTo>
                  <a:lnTo>
                    <a:pt x="3939" y="1723"/>
                  </a:lnTo>
                  <a:lnTo>
                    <a:pt x="3959" y="1793"/>
                  </a:lnTo>
                  <a:lnTo>
                    <a:pt x="3979" y="1874"/>
                  </a:lnTo>
                  <a:lnTo>
                    <a:pt x="3989" y="1955"/>
                  </a:lnTo>
                  <a:lnTo>
                    <a:pt x="4004" y="2040"/>
                  </a:lnTo>
                  <a:lnTo>
                    <a:pt x="4010" y="2125"/>
                  </a:lnTo>
                  <a:lnTo>
                    <a:pt x="4019" y="2311"/>
                  </a:lnTo>
                  <a:lnTo>
                    <a:pt x="4019" y="2502"/>
                  </a:lnTo>
                  <a:lnTo>
                    <a:pt x="4014" y="2708"/>
                  </a:lnTo>
                  <a:lnTo>
                    <a:pt x="3999" y="2914"/>
                  </a:lnTo>
                  <a:lnTo>
                    <a:pt x="3979" y="3125"/>
                  </a:lnTo>
                  <a:lnTo>
                    <a:pt x="3979" y="3125"/>
                  </a:lnTo>
                  <a:lnTo>
                    <a:pt x="3944" y="3145"/>
                  </a:lnTo>
                  <a:lnTo>
                    <a:pt x="3909" y="3175"/>
                  </a:lnTo>
                  <a:lnTo>
                    <a:pt x="3884" y="3205"/>
                  </a:lnTo>
                  <a:lnTo>
                    <a:pt x="3859" y="3240"/>
                  </a:lnTo>
                  <a:lnTo>
                    <a:pt x="3839" y="3276"/>
                  </a:lnTo>
                  <a:lnTo>
                    <a:pt x="3823" y="3316"/>
                  </a:lnTo>
                  <a:lnTo>
                    <a:pt x="3814" y="3356"/>
                  </a:lnTo>
                  <a:lnTo>
                    <a:pt x="3814" y="3401"/>
                  </a:lnTo>
                  <a:lnTo>
                    <a:pt x="3814" y="3547"/>
                  </a:lnTo>
                  <a:lnTo>
                    <a:pt x="3814" y="3547"/>
                  </a:lnTo>
                  <a:lnTo>
                    <a:pt x="3909" y="3632"/>
                  </a:lnTo>
                  <a:lnTo>
                    <a:pt x="3999" y="3723"/>
                  </a:lnTo>
                  <a:lnTo>
                    <a:pt x="4090" y="3813"/>
                  </a:lnTo>
                  <a:lnTo>
                    <a:pt x="4175" y="3903"/>
                  </a:lnTo>
                  <a:lnTo>
                    <a:pt x="4256" y="3994"/>
                  </a:lnTo>
                  <a:lnTo>
                    <a:pt x="4336" y="4090"/>
                  </a:lnTo>
                  <a:lnTo>
                    <a:pt x="4411" y="4185"/>
                  </a:lnTo>
                  <a:lnTo>
                    <a:pt x="4482" y="4280"/>
                  </a:lnTo>
                  <a:lnTo>
                    <a:pt x="4547" y="4376"/>
                  </a:lnTo>
                  <a:lnTo>
                    <a:pt x="4612" y="4476"/>
                  </a:lnTo>
                  <a:lnTo>
                    <a:pt x="4673" y="4577"/>
                  </a:lnTo>
                  <a:lnTo>
                    <a:pt x="4728" y="4682"/>
                  </a:lnTo>
                  <a:lnTo>
                    <a:pt x="4778" y="4788"/>
                  </a:lnTo>
                  <a:lnTo>
                    <a:pt x="4828" y="4893"/>
                  </a:lnTo>
                  <a:lnTo>
                    <a:pt x="4874" y="5004"/>
                  </a:lnTo>
                  <a:lnTo>
                    <a:pt x="4909" y="5110"/>
                  </a:lnTo>
                  <a:lnTo>
                    <a:pt x="4909" y="5110"/>
                  </a:lnTo>
                  <a:lnTo>
                    <a:pt x="4954" y="5345"/>
                  </a:lnTo>
                  <a:lnTo>
                    <a:pt x="4994" y="5577"/>
                  </a:lnTo>
                  <a:lnTo>
                    <a:pt x="5024" y="5813"/>
                  </a:lnTo>
                  <a:lnTo>
                    <a:pt x="5050" y="6049"/>
                  </a:lnTo>
                  <a:lnTo>
                    <a:pt x="5069" y="6280"/>
                  </a:lnTo>
                  <a:lnTo>
                    <a:pt x="5084" y="6516"/>
                  </a:lnTo>
                  <a:lnTo>
                    <a:pt x="5089" y="6752"/>
                  </a:lnTo>
                  <a:lnTo>
                    <a:pt x="5089" y="6983"/>
                  </a:lnTo>
                  <a:lnTo>
                    <a:pt x="5084" y="7220"/>
                  </a:lnTo>
                  <a:lnTo>
                    <a:pt x="5075" y="7455"/>
                  </a:lnTo>
                  <a:lnTo>
                    <a:pt x="5054" y="7692"/>
                  </a:lnTo>
                  <a:lnTo>
                    <a:pt x="5029" y="7928"/>
                  </a:lnTo>
                  <a:lnTo>
                    <a:pt x="4999" y="8164"/>
                  </a:lnTo>
                  <a:lnTo>
                    <a:pt x="4959" y="8400"/>
                  </a:lnTo>
                  <a:lnTo>
                    <a:pt x="4919" y="8636"/>
                  </a:lnTo>
                  <a:lnTo>
                    <a:pt x="4868" y="8872"/>
                  </a:lnTo>
                  <a:lnTo>
                    <a:pt x="4868" y="8872"/>
                  </a:lnTo>
                  <a:lnTo>
                    <a:pt x="4813" y="9274"/>
                  </a:lnTo>
                  <a:lnTo>
                    <a:pt x="4763" y="9676"/>
                  </a:lnTo>
                  <a:lnTo>
                    <a:pt x="4718" y="10072"/>
                  </a:lnTo>
                  <a:lnTo>
                    <a:pt x="4683" y="10464"/>
                  </a:lnTo>
                  <a:lnTo>
                    <a:pt x="4658" y="10855"/>
                  </a:lnTo>
                  <a:lnTo>
                    <a:pt x="4637" y="11243"/>
                  </a:lnTo>
                  <a:lnTo>
                    <a:pt x="4632" y="11624"/>
                  </a:lnTo>
                  <a:lnTo>
                    <a:pt x="4632" y="12001"/>
                  </a:lnTo>
                  <a:lnTo>
                    <a:pt x="4642" y="12378"/>
                  </a:lnTo>
                  <a:lnTo>
                    <a:pt x="4662" y="12745"/>
                  </a:lnTo>
                  <a:lnTo>
                    <a:pt x="4687" y="13111"/>
                  </a:lnTo>
                  <a:lnTo>
                    <a:pt x="4728" y="13474"/>
                  </a:lnTo>
                  <a:lnTo>
                    <a:pt x="4778" y="13830"/>
                  </a:lnTo>
                  <a:lnTo>
                    <a:pt x="4838" y="14181"/>
                  </a:lnTo>
                  <a:lnTo>
                    <a:pt x="4913" y="14533"/>
                  </a:lnTo>
                  <a:lnTo>
                    <a:pt x="4954" y="14704"/>
                  </a:lnTo>
                  <a:lnTo>
                    <a:pt x="4994" y="14875"/>
                  </a:lnTo>
                  <a:lnTo>
                    <a:pt x="5069" y="15508"/>
                  </a:lnTo>
                  <a:lnTo>
                    <a:pt x="5069" y="16397"/>
                  </a:lnTo>
                  <a:lnTo>
                    <a:pt x="5064" y="16397"/>
                  </a:lnTo>
                  <a:lnTo>
                    <a:pt x="5064" y="16397"/>
                  </a:lnTo>
                  <a:lnTo>
                    <a:pt x="5044" y="16437"/>
                  </a:lnTo>
                  <a:lnTo>
                    <a:pt x="5029" y="16478"/>
                  </a:lnTo>
                  <a:lnTo>
                    <a:pt x="5019" y="16523"/>
                  </a:lnTo>
                  <a:lnTo>
                    <a:pt x="5014" y="16563"/>
                  </a:lnTo>
                  <a:lnTo>
                    <a:pt x="5019" y="16608"/>
                  </a:lnTo>
                  <a:lnTo>
                    <a:pt x="5029" y="16649"/>
                  </a:lnTo>
                  <a:lnTo>
                    <a:pt x="5044" y="16688"/>
                  </a:lnTo>
                  <a:lnTo>
                    <a:pt x="5064" y="16729"/>
                  </a:lnTo>
                  <a:lnTo>
                    <a:pt x="5069" y="16734"/>
                  </a:lnTo>
                  <a:lnTo>
                    <a:pt x="5069" y="17452"/>
                  </a:lnTo>
                  <a:lnTo>
                    <a:pt x="5069" y="17452"/>
                  </a:lnTo>
                  <a:lnTo>
                    <a:pt x="5054" y="17532"/>
                  </a:lnTo>
                  <a:lnTo>
                    <a:pt x="5029" y="17608"/>
                  </a:lnTo>
                  <a:lnTo>
                    <a:pt x="5004" y="17673"/>
                  </a:lnTo>
                  <a:lnTo>
                    <a:pt x="4969" y="17739"/>
                  </a:lnTo>
                  <a:lnTo>
                    <a:pt x="4934" y="17794"/>
                  </a:lnTo>
                  <a:lnTo>
                    <a:pt x="4888" y="17844"/>
                  </a:lnTo>
                  <a:lnTo>
                    <a:pt x="4843" y="17889"/>
                  </a:lnTo>
                  <a:lnTo>
                    <a:pt x="4788" y="17929"/>
                  </a:lnTo>
                  <a:lnTo>
                    <a:pt x="4733" y="17965"/>
                  </a:lnTo>
                  <a:lnTo>
                    <a:pt x="4673" y="18000"/>
                  </a:lnTo>
                  <a:lnTo>
                    <a:pt x="4607" y="18025"/>
                  </a:lnTo>
                  <a:lnTo>
                    <a:pt x="4537" y="18050"/>
                  </a:lnTo>
                  <a:lnTo>
                    <a:pt x="4466" y="18070"/>
                  </a:lnTo>
                  <a:lnTo>
                    <a:pt x="4391" y="18085"/>
                  </a:lnTo>
                  <a:lnTo>
                    <a:pt x="4316" y="18095"/>
                  </a:lnTo>
                  <a:lnTo>
                    <a:pt x="4236" y="18105"/>
                  </a:lnTo>
                  <a:lnTo>
                    <a:pt x="2543" y="18105"/>
                  </a:lnTo>
                </a:path>
              </a:pathLst>
            </a:custGeom>
            <a:noFill/>
            <a:ln w="12700">
              <a:solidFill>
                <a:schemeClr val="bg1">
                  <a:alpha val="30000"/>
                </a:schemeClr>
              </a:solidFill>
            </a:ln>
            <a:effectLst/>
          </p:spPr>
          <p:txBody>
            <a:bodyPr wrap="none" anchor="ctr"/>
            <a:lstStyle/>
            <a:p>
              <a:endParaRPr lang="en-US" sz="1709"/>
            </a:p>
          </p:txBody>
        </p:sp>
        <p:sp>
          <p:nvSpPr>
            <p:cNvPr id="13" name="Freeform 12">
              <a:extLst>
                <a:ext uri="{FF2B5EF4-FFF2-40B4-BE49-F238E27FC236}">
                  <a16:creationId xmlns:a16="http://schemas.microsoft.com/office/drawing/2014/main" id="{2FA31B68-7DCE-0C4E-8B34-96D1EADE7536}"/>
                </a:ext>
              </a:extLst>
            </p:cNvPr>
            <p:cNvSpPr>
              <a:spLocks noChangeArrowheads="1"/>
            </p:cNvSpPr>
            <p:nvPr/>
          </p:nvSpPr>
          <p:spPr bwMode="auto">
            <a:xfrm>
              <a:off x="6505857" y="1249543"/>
              <a:ext cx="1285437" cy="4573662"/>
            </a:xfrm>
            <a:custGeom>
              <a:avLst/>
              <a:gdLst>
                <a:gd name="T0" fmla="*/ 698 w 5090"/>
                <a:gd name="T1" fmla="*/ 18085 h 18106"/>
                <a:gd name="T2" fmla="*/ 357 w 5090"/>
                <a:gd name="T3" fmla="*/ 17965 h 18106"/>
                <a:gd name="T4" fmla="*/ 120 w 5090"/>
                <a:gd name="T5" fmla="*/ 17739 h 18106"/>
                <a:gd name="T6" fmla="*/ 20 w 5090"/>
                <a:gd name="T7" fmla="*/ 16734 h 18106"/>
                <a:gd name="T8" fmla="*/ 70 w 5090"/>
                <a:gd name="T9" fmla="*/ 16608 h 18106"/>
                <a:gd name="T10" fmla="*/ 20 w 5090"/>
                <a:gd name="T11" fmla="*/ 16397 h 18106"/>
                <a:gd name="T12" fmla="*/ 136 w 5090"/>
                <a:gd name="T13" fmla="*/ 14704 h 18106"/>
                <a:gd name="T14" fmla="*/ 396 w 5090"/>
                <a:gd name="T15" fmla="*/ 13111 h 18106"/>
                <a:gd name="T16" fmla="*/ 447 w 5090"/>
                <a:gd name="T17" fmla="*/ 11243 h 18106"/>
                <a:gd name="T18" fmla="*/ 276 w 5090"/>
                <a:gd name="T19" fmla="*/ 9274 h 18106"/>
                <a:gd name="T20" fmla="*/ 90 w 5090"/>
                <a:gd name="T21" fmla="*/ 8164 h 18106"/>
                <a:gd name="T22" fmla="*/ 0 w 5090"/>
                <a:gd name="T23" fmla="*/ 6983 h 18106"/>
                <a:gd name="T24" fmla="*/ 60 w 5090"/>
                <a:gd name="T25" fmla="*/ 5813 h 18106"/>
                <a:gd name="T26" fmla="*/ 216 w 5090"/>
                <a:gd name="T27" fmla="*/ 5004 h 18106"/>
                <a:gd name="T28" fmla="*/ 477 w 5090"/>
                <a:gd name="T29" fmla="*/ 4476 h 18106"/>
                <a:gd name="T30" fmla="*/ 834 w 5090"/>
                <a:gd name="T31" fmla="*/ 3994 h 18106"/>
                <a:gd name="T32" fmla="*/ 1276 w 5090"/>
                <a:gd name="T33" fmla="*/ 3547 h 18106"/>
                <a:gd name="T34" fmla="*/ 1251 w 5090"/>
                <a:gd name="T35" fmla="*/ 3276 h 18106"/>
                <a:gd name="T36" fmla="*/ 1105 w 5090"/>
                <a:gd name="T37" fmla="*/ 3125 h 18106"/>
                <a:gd name="T38" fmla="*/ 1070 w 5090"/>
                <a:gd name="T39" fmla="*/ 2311 h 18106"/>
                <a:gd name="T40" fmla="*/ 1130 w 5090"/>
                <a:gd name="T41" fmla="*/ 1793 h 18106"/>
                <a:gd name="T42" fmla="*/ 1201 w 5090"/>
                <a:gd name="T43" fmla="*/ 1618 h 18106"/>
                <a:gd name="T44" fmla="*/ 1537 w 5090"/>
                <a:gd name="T45" fmla="*/ 1597 h 18106"/>
                <a:gd name="T46" fmla="*/ 1572 w 5090"/>
                <a:gd name="T47" fmla="*/ 1351 h 18106"/>
                <a:gd name="T48" fmla="*/ 1668 w 5090"/>
                <a:gd name="T49" fmla="*/ 1161 h 18106"/>
                <a:gd name="T50" fmla="*/ 1763 w 5090"/>
                <a:gd name="T51" fmla="*/ 935 h 18106"/>
                <a:gd name="T52" fmla="*/ 1738 w 5090"/>
                <a:gd name="T53" fmla="*/ 327 h 18106"/>
                <a:gd name="T54" fmla="*/ 1778 w 5090"/>
                <a:gd name="T55" fmla="*/ 46 h 18106"/>
                <a:gd name="T56" fmla="*/ 2542 w 5090"/>
                <a:gd name="T57" fmla="*/ 0 h 18106"/>
                <a:gd name="T58" fmla="*/ 3286 w 5090"/>
                <a:gd name="T59" fmla="*/ 20 h 18106"/>
                <a:gd name="T60" fmla="*/ 3336 w 5090"/>
                <a:gd name="T61" fmla="*/ 201 h 18106"/>
                <a:gd name="T62" fmla="*/ 3341 w 5090"/>
                <a:gd name="T63" fmla="*/ 814 h 18106"/>
                <a:gd name="T64" fmla="*/ 3386 w 5090"/>
                <a:gd name="T65" fmla="*/ 1125 h 18106"/>
                <a:gd name="T66" fmla="*/ 3512 w 5090"/>
                <a:gd name="T67" fmla="*/ 1312 h 18106"/>
                <a:gd name="T68" fmla="*/ 3532 w 5090"/>
                <a:gd name="T69" fmla="*/ 1588 h 18106"/>
                <a:gd name="T70" fmla="*/ 3868 w 5090"/>
                <a:gd name="T71" fmla="*/ 1608 h 18106"/>
                <a:gd name="T72" fmla="*/ 3938 w 5090"/>
                <a:gd name="T73" fmla="*/ 1723 h 18106"/>
                <a:gd name="T74" fmla="*/ 4009 w 5090"/>
                <a:gd name="T75" fmla="*/ 2125 h 18106"/>
                <a:gd name="T76" fmla="*/ 3979 w 5090"/>
                <a:gd name="T77" fmla="*/ 3125 h 18106"/>
                <a:gd name="T78" fmla="*/ 3858 w 5090"/>
                <a:gd name="T79" fmla="*/ 3240 h 18106"/>
                <a:gd name="T80" fmla="*/ 3813 w 5090"/>
                <a:gd name="T81" fmla="*/ 3547 h 18106"/>
                <a:gd name="T82" fmla="*/ 4175 w 5090"/>
                <a:gd name="T83" fmla="*/ 3903 h 18106"/>
                <a:gd name="T84" fmla="*/ 4552 w 5090"/>
                <a:gd name="T85" fmla="*/ 4376 h 18106"/>
                <a:gd name="T86" fmla="*/ 4828 w 5090"/>
                <a:gd name="T87" fmla="*/ 4893 h 18106"/>
                <a:gd name="T88" fmla="*/ 4993 w 5090"/>
                <a:gd name="T89" fmla="*/ 5577 h 18106"/>
                <a:gd name="T90" fmla="*/ 5089 w 5090"/>
                <a:gd name="T91" fmla="*/ 6752 h 18106"/>
                <a:gd name="T92" fmla="*/ 5029 w 5090"/>
                <a:gd name="T93" fmla="*/ 7928 h 18106"/>
                <a:gd name="T94" fmla="*/ 4868 w 5090"/>
                <a:gd name="T95" fmla="*/ 8872 h 18106"/>
                <a:gd name="T96" fmla="*/ 4657 w 5090"/>
                <a:gd name="T97" fmla="*/ 10855 h 18106"/>
                <a:gd name="T98" fmla="*/ 4662 w 5090"/>
                <a:gd name="T99" fmla="*/ 12745 h 18106"/>
                <a:gd name="T100" fmla="*/ 4913 w 5090"/>
                <a:gd name="T101" fmla="*/ 14533 h 18106"/>
                <a:gd name="T102" fmla="*/ 5069 w 5090"/>
                <a:gd name="T103" fmla="*/ 16397 h 18106"/>
                <a:gd name="T104" fmla="*/ 5013 w 5090"/>
                <a:gd name="T105" fmla="*/ 16563 h 18106"/>
                <a:gd name="T106" fmla="*/ 5069 w 5090"/>
                <a:gd name="T107" fmla="*/ 16734 h 18106"/>
                <a:gd name="T108" fmla="*/ 5004 w 5090"/>
                <a:gd name="T109" fmla="*/ 17673 h 18106"/>
                <a:gd name="T110" fmla="*/ 4787 w 5090"/>
                <a:gd name="T111" fmla="*/ 17929 h 18106"/>
                <a:gd name="T112" fmla="*/ 4466 w 5090"/>
                <a:gd name="T113" fmla="*/ 18070 h 18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90" h="18106">
                  <a:moveTo>
                    <a:pt x="2542" y="18105"/>
                  </a:moveTo>
                  <a:lnTo>
                    <a:pt x="854" y="18105"/>
                  </a:lnTo>
                  <a:lnTo>
                    <a:pt x="854" y="18105"/>
                  </a:lnTo>
                  <a:lnTo>
                    <a:pt x="773" y="18095"/>
                  </a:lnTo>
                  <a:lnTo>
                    <a:pt x="698" y="18085"/>
                  </a:lnTo>
                  <a:lnTo>
                    <a:pt x="623" y="18070"/>
                  </a:lnTo>
                  <a:lnTo>
                    <a:pt x="547" y="18050"/>
                  </a:lnTo>
                  <a:lnTo>
                    <a:pt x="482" y="18025"/>
                  </a:lnTo>
                  <a:lnTo>
                    <a:pt x="417" y="18000"/>
                  </a:lnTo>
                  <a:lnTo>
                    <a:pt x="357" y="17965"/>
                  </a:lnTo>
                  <a:lnTo>
                    <a:pt x="301" y="17929"/>
                  </a:lnTo>
                  <a:lnTo>
                    <a:pt x="246" y="17889"/>
                  </a:lnTo>
                  <a:lnTo>
                    <a:pt x="201" y="17844"/>
                  </a:lnTo>
                  <a:lnTo>
                    <a:pt x="156" y="17794"/>
                  </a:lnTo>
                  <a:lnTo>
                    <a:pt x="120" y="17739"/>
                  </a:lnTo>
                  <a:lnTo>
                    <a:pt x="85" y="17673"/>
                  </a:lnTo>
                  <a:lnTo>
                    <a:pt x="55" y="17608"/>
                  </a:lnTo>
                  <a:lnTo>
                    <a:pt x="35" y="17532"/>
                  </a:lnTo>
                  <a:lnTo>
                    <a:pt x="20" y="17452"/>
                  </a:lnTo>
                  <a:lnTo>
                    <a:pt x="20" y="16734"/>
                  </a:lnTo>
                  <a:lnTo>
                    <a:pt x="20" y="16729"/>
                  </a:lnTo>
                  <a:lnTo>
                    <a:pt x="20" y="16729"/>
                  </a:lnTo>
                  <a:lnTo>
                    <a:pt x="45" y="16688"/>
                  </a:lnTo>
                  <a:lnTo>
                    <a:pt x="60" y="16649"/>
                  </a:lnTo>
                  <a:lnTo>
                    <a:pt x="70" y="16608"/>
                  </a:lnTo>
                  <a:lnTo>
                    <a:pt x="75" y="16563"/>
                  </a:lnTo>
                  <a:lnTo>
                    <a:pt x="70" y="16523"/>
                  </a:lnTo>
                  <a:lnTo>
                    <a:pt x="60" y="16478"/>
                  </a:lnTo>
                  <a:lnTo>
                    <a:pt x="45" y="16437"/>
                  </a:lnTo>
                  <a:lnTo>
                    <a:pt x="20" y="16397"/>
                  </a:lnTo>
                  <a:lnTo>
                    <a:pt x="20" y="16397"/>
                  </a:lnTo>
                  <a:lnTo>
                    <a:pt x="20" y="15508"/>
                  </a:lnTo>
                  <a:lnTo>
                    <a:pt x="95" y="14875"/>
                  </a:lnTo>
                  <a:lnTo>
                    <a:pt x="95" y="14875"/>
                  </a:lnTo>
                  <a:lnTo>
                    <a:pt x="136" y="14704"/>
                  </a:lnTo>
                  <a:lnTo>
                    <a:pt x="176" y="14533"/>
                  </a:lnTo>
                  <a:lnTo>
                    <a:pt x="246" y="14181"/>
                  </a:lnTo>
                  <a:lnTo>
                    <a:pt x="311" y="13830"/>
                  </a:lnTo>
                  <a:lnTo>
                    <a:pt x="362" y="13474"/>
                  </a:lnTo>
                  <a:lnTo>
                    <a:pt x="396" y="13111"/>
                  </a:lnTo>
                  <a:lnTo>
                    <a:pt x="427" y="12745"/>
                  </a:lnTo>
                  <a:lnTo>
                    <a:pt x="447" y="12378"/>
                  </a:lnTo>
                  <a:lnTo>
                    <a:pt x="457" y="12001"/>
                  </a:lnTo>
                  <a:lnTo>
                    <a:pt x="457" y="11624"/>
                  </a:lnTo>
                  <a:lnTo>
                    <a:pt x="447" y="11243"/>
                  </a:lnTo>
                  <a:lnTo>
                    <a:pt x="432" y="10855"/>
                  </a:lnTo>
                  <a:lnTo>
                    <a:pt x="407" y="10464"/>
                  </a:lnTo>
                  <a:lnTo>
                    <a:pt x="371" y="10072"/>
                  </a:lnTo>
                  <a:lnTo>
                    <a:pt x="326" y="9676"/>
                  </a:lnTo>
                  <a:lnTo>
                    <a:pt x="276" y="9274"/>
                  </a:lnTo>
                  <a:lnTo>
                    <a:pt x="221" y="8872"/>
                  </a:lnTo>
                  <a:lnTo>
                    <a:pt x="221" y="8872"/>
                  </a:lnTo>
                  <a:lnTo>
                    <a:pt x="170" y="8636"/>
                  </a:lnTo>
                  <a:lnTo>
                    <a:pt x="125" y="8400"/>
                  </a:lnTo>
                  <a:lnTo>
                    <a:pt x="90" y="8164"/>
                  </a:lnTo>
                  <a:lnTo>
                    <a:pt x="60" y="7928"/>
                  </a:lnTo>
                  <a:lnTo>
                    <a:pt x="35" y="7692"/>
                  </a:lnTo>
                  <a:lnTo>
                    <a:pt x="15" y="7455"/>
                  </a:lnTo>
                  <a:lnTo>
                    <a:pt x="5" y="7220"/>
                  </a:lnTo>
                  <a:lnTo>
                    <a:pt x="0" y="6983"/>
                  </a:lnTo>
                  <a:lnTo>
                    <a:pt x="0" y="6752"/>
                  </a:lnTo>
                  <a:lnTo>
                    <a:pt x="5" y="6516"/>
                  </a:lnTo>
                  <a:lnTo>
                    <a:pt x="20" y="6280"/>
                  </a:lnTo>
                  <a:lnTo>
                    <a:pt x="35" y="6049"/>
                  </a:lnTo>
                  <a:lnTo>
                    <a:pt x="60" y="5813"/>
                  </a:lnTo>
                  <a:lnTo>
                    <a:pt x="95" y="5577"/>
                  </a:lnTo>
                  <a:lnTo>
                    <a:pt x="131" y="5345"/>
                  </a:lnTo>
                  <a:lnTo>
                    <a:pt x="176" y="5110"/>
                  </a:lnTo>
                  <a:lnTo>
                    <a:pt x="176" y="5110"/>
                  </a:lnTo>
                  <a:lnTo>
                    <a:pt x="216" y="5004"/>
                  </a:lnTo>
                  <a:lnTo>
                    <a:pt x="261" y="4893"/>
                  </a:lnTo>
                  <a:lnTo>
                    <a:pt x="307" y="4788"/>
                  </a:lnTo>
                  <a:lnTo>
                    <a:pt x="362" y="4682"/>
                  </a:lnTo>
                  <a:lnTo>
                    <a:pt x="417" y="4577"/>
                  </a:lnTo>
                  <a:lnTo>
                    <a:pt x="477" y="4476"/>
                  </a:lnTo>
                  <a:lnTo>
                    <a:pt x="537" y="4376"/>
                  </a:lnTo>
                  <a:lnTo>
                    <a:pt x="608" y="4280"/>
                  </a:lnTo>
                  <a:lnTo>
                    <a:pt x="678" y="4185"/>
                  </a:lnTo>
                  <a:lnTo>
                    <a:pt x="754" y="4090"/>
                  </a:lnTo>
                  <a:lnTo>
                    <a:pt x="834" y="3994"/>
                  </a:lnTo>
                  <a:lnTo>
                    <a:pt x="914" y="3903"/>
                  </a:lnTo>
                  <a:lnTo>
                    <a:pt x="1000" y="3813"/>
                  </a:lnTo>
                  <a:lnTo>
                    <a:pt x="1090" y="3723"/>
                  </a:lnTo>
                  <a:lnTo>
                    <a:pt x="1181" y="3632"/>
                  </a:lnTo>
                  <a:lnTo>
                    <a:pt x="1276" y="3547"/>
                  </a:lnTo>
                  <a:lnTo>
                    <a:pt x="1276" y="3401"/>
                  </a:lnTo>
                  <a:lnTo>
                    <a:pt x="1276" y="3401"/>
                  </a:lnTo>
                  <a:lnTo>
                    <a:pt x="1271" y="3356"/>
                  </a:lnTo>
                  <a:lnTo>
                    <a:pt x="1266" y="3316"/>
                  </a:lnTo>
                  <a:lnTo>
                    <a:pt x="1251" y="3276"/>
                  </a:lnTo>
                  <a:lnTo>
                    <a:pt x="1231" y="3240"/>
                  </a:lnTo>
                  <a:lnTo>
                    <a:pt x="1206" y="3205"/>
                  </a:lnTo>
                  <a:lnTo>
                    <a:pt x="1176" y="3175"/>
                  </a:lnTo>
                  <a:lnTo>
                    <a:pt x="1145" y="3145"/>
                  </a:lnTo>
                  <a:lnTo>
                    <a:pt x="1105" y="3125"/>
                  </a:lnTo>
                  <a:lnTo>
                    <a:pt x="1105" y="3125"/>
                  </a:lnTo>
                  <a:lnTo>
                    <a:pt x="1090" y="2914"/>
                  </a:lnTo>
                  <a:lnTo>
                    <a:pt x="1075" y="2708"/>
                  </a:lnTo>
                  <a:lnTo>
                    <a:pt x="1065" y="2502"/>
                  </a:lnTo>
                  <a:lnTo>
                    <a:pt x="1070" y="2311"/>
                  </a:lnTo>
                  <a:lnTo>
                    <a:pt x="1075" y="2125"/>
                  </a:lnTo>
                  <a:lnTo>
                    <a:pt x="1085" y="2040"/>
                  </a:lnTo>
                  <a:lnTo>
                    <a:pt x="1095" y="1955"/>
                  </a:lnTo>
                  <a:lnTo>
                    <a:pt x="1110" y="1874"/>
                  </a:lnTo>
                  <a:lnTo>
                    <a:pt x="1130" y="1793"/>
                  </a:lnTo>
                  <a:lnTo>
                    <a:pt x="1150" y="1723"/>
                  </a:lnTo>
                  <a:lnTo>
                    <a:pt x="1170" y="1653"/>
                  </a:lnTo>
                  <a:lnTo>
                    <a:pt x="1170" y="1653"/>
                  </a:lnTo>
                  <a:lnTo>
                    <a:pt x="1181" y="1633"/>
                  </a:lnTo>
                  <a:lnTo>
                    <a:pt x="1201" y="1618"/>
                  </a:lnTo>
                  <a:lnTo>
                    <a:pt x="1221" y="1608"/>
                  </a:lnTo>
                  <a:lnTo>
                    <a:pt x="1240" y="1603"/>
                  </a:lnTo>
                  <a:lnTo>
                    <a:pt x="1512" y="1603"/>
                  </a:lnTo>
                  <a:lnTo>
                    <a:pt x="1512" y="1603"/>
                  </a:lnTo>
                  <a:lnTo>
                    <a:pt x="1537" y="1597"/>
                  </a:lnTo>
                  <a:lnTo>
                    <a:pt x="1552" y="1588"/>
                  </a:lnTo>
                  <a:lnTo>
                    <a:pt x="1567" y="1567"/>
                  </a:lnTo>
                  <a:lnTo>
                    <a:pt x="1572" y="1542"/>
                  </a:lnTo>
                  <a:lnTo>
                    <a:pt x="1572" y="1351"/>
                  </a:lnTo>
                  <a:lnTo>
                    <a:pt x="1572" y="1351"/>
                  </a:lnTo>
                  <a:lnTo>
                    <a:pt x="1577" y="1312"/>
                  </a:lnTo>
                  <a:lnTo>
                    <a:pt x="1592" y="1271"/>
                  </a:lnTo>
                  <a:lnTo>
                    <a:pt x="1612" y="1236"/>
                  </a:lnTo>
                  <a:lnTo>
                    <a:pt x="1637" y="1196"/>
                  </a:lnTo>
                  <a:lnTo>
                    <a:pt x="1668" y="1161"/>
                  </a:lnTo>
                  <a:lnTo>
                    <a:pt x="1703" y="1125"/>
                  </a:lnTo>
                  <a:lnTo>
                    <a:pt x="1738" y="1090"/>
                  </a:lnTo>
                  <a:lnTo>
                    <a:pt x="1783" y="1055"/>
                  </a:lnTo>
                  <a:lnTo>
                    <a:pt x="1783" y="1055"/>
                  </a:lnTo>
                  <a:lnTo>
                    <a:pt x="1763" y="935"/>
                  </a:lnTo>
                  <a:lnTo>
                    <a:pt x="1743" y="814"/>
                  </a:lnTo>
                  <a:lnTo>
                    <a:pt x="1733" y="694"/>
                  </a:lnTo>
                  <a:lnTo>
                    <a:pt x="1733" y="568"/>
                  </a:lnTo>
                  <a:lnTo>
                    <a:pt x="1733" y="447"/>
                  </a:lnTo>
                  <a:lnTo>
                    <a:pt x="1738" y="327"/>
                  </a:lnTo>
                  <a:lnTo>
                    <a:pt x="1753" y="201"/>
                  </a:lnTo>
                  <a:lnTo>
                    <a:pt x="1768" y="80"/>
                  </a:lnTo>
                  <a:lnTo>
                    <a:pt x="1768" y="80"/>
                  </a:lnTo>
                  <a:lnTo>
                    <a:pt x="1773" y="60"/>
                  </a:lnTo>
                  <a:lnTo>
                    <a:pt x="1778" y="46"/>
                  </a:lnTo>
                  <a:lnTo>
                    <a:pt x="1803" y="20"/>
                  </a:lnTo>
                  <a:lnTo>
                    <a:pt x="1833" y="5"/>
                  </a:lnTo>
                  <a:lnTo>
                    <a:pt x="1849" y="0"/>
                  </a:lnTo>
                  <a:lnTo>
                    <a:pt x="1864" y="0"/>
                  </a:lnTo>
                  <a:lnTo>
                    <a:pt x="2542" y="0"/>
                  </a:lnTo>
                  <a:lnTo>
                    <a:pt x="3220" y="0"/>
                  </a:lnTo>
                  <a:lnTo>
                    <a:pt x="3220" y="0"/>
                  </a:lnTo>
                  <a:lnTo>
                    <a:pt x="3240" y="0"/>
                  </a:lnTo>
                  <a:lnTo>
                    <a:pt x="3255" y="5"/>
                  </a:lnTo>
                  <a:lnTo>
                    <a:pt x="3286" y="20"/>
                  </a:lnTo>
                  <a:lnTo>
                    <a:pt x="3305" y="46"/>
                  </a:lnTo>
                  <a:lnTo>
                    <a:pt x="3316" y="60"/>
                  </a:lnTo>
                  <a:lnTo>
                    <a:pt x="3320" y="80"/>
                  </a:lnTo>
                  <a:lnTo>
                    <a:pt x="3320" y="80"/>
                  </a:lnTo>
                  <a:lnTo>
                    <a:pt x="3336" y="201"/>
                  </a:lnTo>
                  <a:lnTo>
                    <a:pt x="3350" y="327"/>
                  </a:lnTo>
                  <a:lnTo>
                    <a:pt x="3356" y="447"/>
                  </a:lnTo>
                  <a:lnTo>
                    <a:pt x="3356" y="568"/>
                  </a:lnTo>
                  <a:lnTo>
                    <a:pt x="3350" y="694"/>
                  </a:lnTo>
                  <a:lnTo>
                    <a:pt x="3341" y="814"/>
                  </a:lnTo>
                  <a:lnTo>
                    <a:pt x="3325" y="935"/>
                  </a:lnTo>
                  <a:lnTo>
                    <a:pt x="3305" y="1055"/>
                  </a:lnTo>
                  <a:lnTo>
                    <a:pt x="3305" y="1055"/>
                  </a:lnTo>
                  <a:lnTo>
                    <a:pt x="3346" y="1090"/>
                  </a:lnTo>
                  <a:lnTo>
                    <a:pt x="3386" y="1125"/>
                  </a:lnTo>
                  <a:lnTo>
                    <a:pt x="3421" y="1161"/>
                  </a:lnTo>
                  <a:lnTo>
                    <a:pt x="3451" y="1196"/>
                  </a:lnTo>
                  <a:lnTo>
                    <a:pt x="3476" y="1236"/>
                  </a:lnTo>
                  <a:lnTo>
                    <a:pt x="3496" y="1271"/>
                  </a:lnTo>
                  <a:lnTo>
                    <a:pt x="3512" y="1312"/>
                  </a:lnTo>
                  <a:lnTo>
                    <a:pt x="3516" y="1351"/>
                  </a:lnTo>
                  <a:lnTo>
                    <a:pt x="3516" y="1542"/>
                  </a:lnTo>
                  <a:lnTo>
                    <a:pt x="3516" y="1542"/>
                  </a:lnTo>
                  <a:lnTo>
                    <a:pt x="3521" y="1567"/>
                  </a:lnTo>
                  <a:lnTo>
                    <a:pt x="3532" y="1588"/>
                  </a:lnTo>
                  <a:lnTo>
                    <a:pt x="3551" y="1597"/>
                  </a:lnTo>
                  <a:lnTo>
                    <a:pt x="3577" y="1603"/>
                  </a:lnTo>
                  <a:lnTo>
                    <a:pt x="3843" y="1603"/>
                  </a:lnTo>
                  <a:lnTo>
                    <a:pt x="3843" y="1603"/>
                  </a:lnTo>
                  <a:lnTo>
                    <a:pt x="3868" y="1608"/>
                  </a:lnTo>
                  <a:lnTo>
                    <a:pt x="3888" y="1618"/>
                  </a:lnTo>
                  <a:lnTo>
                    <a:pt x="3903" y="1633"/>
                  </a:lnTo>
                  <a:lnTo>
                    <a:pt x="3918" y="1653"/>
                  </a:lnTo>
                  <a:lnTo>
                    <a:pt x="3918" y="1653"/>
                  </a:lnTo>
                  <a:lnTo>
                    <a:pt x="3938" y="1723"/>
                  </a:lnTo>
                  <a:lnTo>
                    <a:pt x="3959" y="1793"/>
                  </a:lnTo>
                  <a:lnTo>
                    <a:pt x="3979" y="1874"/>
                  </a:lnTo>
                  <a:lnTo>
                    <a:pt x="3989" y="1955"/>
                  </a:lnTo>
                  <a:lnTo>
                    <a:pt x="4004" y="2040"/>
                  </a:lnTo>
                  <a:lnTo>
                    <a:pt x="4009" y="2125"/>
                  </a:lnTo>
                  <a:lnTo>
                    <a:pt x="4019" y="2311"/>
                  </a:lnTo>
                  <a:lnTo>
                    <a:pt x="4024" y="2502"/>
                  </a:lnTo>
                  <a:lnTo>
                    <a:pt x="4014" y="2708"/>
                  </a:lnTo>
                  <a:lnTo>
                    <a:pt x="3999" y="2914"/>
                  </a:lnTo>
                  <a:lnTo>
                    <a:pt x="3979" y="3125"/>
                  </a:lnTo>
                  <a:lnTo>
                    <a:pt x="3979" y="3125"/>
                  </a:lnTo>
                  <a:lnTo>
                    <a:pt x="3943" y="3145"/>
                  </a:lnTo>
                  <a:lnTo>
                    <a:pt x="3913" y="3175"/>
                  </a:lnTo>
                  <a:lnTo>
                    <a:pt x="3883" y="3205"/>
                  </a:lnTo>
                  <a:lnTo>
                    <a:pt x="3858" y="3240"/>
                  </a:lnTo>
                  <a:lnTo>
                    <a:pt x="3838" y="3276"/>
                  </a:lnTo>
                  <a:lnTo>
                    <a:pt x="3823" y="3316"/>
                  </a:lnTo>
                  <a:lnTo>
                    <a:pt x="3813" y="3356"/>
                  </a:lnTo>
                  <a:lnTo>
                    <a:pt x="3813" y="3401"/>
                  </a:lnTo>
                  <a:lnTo>
                    <a:pt x="3813" y="3547"/>
                  </a:lnTo>
                  <a:lnTo>
                    <a:pt x="3813" y="3547"/>
                  </a:lnTo>
                  <a:lnTo>
                    <a:pt x="3909" y="3632"/>
                  </a:lnTo>
                  <a:lnTo>
                    <a:pt x="3999" y="3723"/>
                  </a:lnTo>
                  <a:lnTo>
                    <a:pt x="4089" y="3813"/>
                  </a:lnTo>
                  <a:lnTo>
                    <a:pt x="4175" y="3903"/>
                  </a:lnTo>
                  <a:lnTo>
                    <a:pt x="4255" y="3994"/>
                  </a:lnTo>
                  <a:lnTo>
                    <a:pt x="4335" y="4090"/>
                  </a:lnTo>
                  <a:lnTo>
                    <a:pt x="4411" y="4185"/>
                  </a:lnTo>
                  <a:lnTo>
                    <a:pt x="4481" y="4280"/>
                  </a:lnTo>
                  <a:lnTo>
                    <a:pt x="4552" y="4376"/>
                  </a:lnTo>
                  <a:lnTo>
                    <a:pt x="4612" y="4476"/>
                  </a:lnTo>
                  <a:lnTo>
                    <a:pt x="4672" y="4577"/>
                  </a:lnTo>
                  <a:lnTo>
                    <a:pt x="4727" y="4682"/>
                  </a:lnTo>
                  <a:lnTo>
                    <a:pt x="4782" y="4788"/>
                  </a:lnTo>
                  <a:lnTo>
                    <a:pt x="4828" y="4893"/>
                  </a:lnTo>
                  <a:lnTo>
                    <a:pt x="4873" y="5004"/>
                  </a:lnTo>
                  <a:lnTo>
                    <a:pt x="4913" y="5110"/>
                  </a:lnTo>
                  <a:lnTo>
                    <a:pt x="4913" y="5110"/>
                  </a:lnTo>
                  <a:lnTo>
                    <a:pt x="4953" y="5345"/>
                  </a:lnTo>
                  <a:lnTo>
                    <a:pt x="4993" y="5577"/>
                  </a:lnTo>
                  <a:lnTo>
                    <a:pt x="5024" y="5813"/>
                  </a:lnTo>
                  <a:lnTo>
                    <a:pt x="5049" y="6049"/>
                  </a:lnTo>
                  <a:lnTo>
                    <a:pt x="5069" y="6280"/>
                  </a:lnTo>
                  <a:lnTo>
                    <a:pt x="5084" y="6516"/>
                  </a:lnTo>
                  <a:lnTo>
                    <a:pt x="5089" y="6752"/>
                  </a:lnTo>
                  <a:lnTo>
                    <a:pt x="5089" y="6983"/>
                  </a:lnTo>
                  <a:lnTo>
                    <a:pt x="5084" y="7220"/>
                  </a:lnTo>
                  <a:lnTo>
                    <a:pt x="5074" y="7455"/>
                  </a:lnTo>
                  <a:lnTo>
                    <a:pt x="5054" y="7692"/>
                  </a:lnTo>
                  <a:lnTo>
                    <a:pt x="5029" y="7928"/>
                  </a:lnTo>
                  <a:lnTo>
                    <a:pt x="4999" y="8164"/>
                  </a:lnTo>
                  <a:lnTo>
                    <a:pt x="4963" y="8400"/>
                  </a:lnTo>
                  <a:lnTo>
                    <a:pt x="4918" y="8636"/>
                  </a:lnTo>
                  <a:lnTo>
                    <a:pt x="4868" y="8872"/>
                  </a:lnTo>
                  <a:lnTo>
                    <a:pt x="4868" y="8872"/>
                  </a:lnTo>
                  <a:lnTo>
                    <a:pt x="4812" y="9274"/>
                  </a:lnTo>
                  <a:lnTo>
                    <a:pt x="4762" y="9676"/>
                  </a:lnTo>
                  <a:lnTo>
                    <a:pt x="4717" y="10072"/>
                  </a:lnTo>
                  <a:lnTo>
                    <a:pt x="4682" y="10464"/>
                  </a:lnTo>
                  <a:lnTo>
                    <a:pt x="4657" y="10855"/>
                  </a:lnTo>
                  <a:lnTo>
                    <a:pt x="4641" y="11243"/>
                  </a:lnTo>
                  <a:lnTo>
                    <a:pt x="4632" y="11624"/>
                  </a:lnTo>
                  <a:lnTo>
                    <a:pt x="4632" y="12001"/>
                  </a:lnTo>
                  <a:lnTo>
                    <a:pt x="4641" y="12378"/>
                  </a:lnTo>
                  <a:lnTo>
                    <a:pt x="4662" y="12745"/>
                  </a:lnTo>
                  <a:lnTo>
                    <a:pt x="4687" y="13111"/>
                  </a:lnTo>
                  <a:lnTo>
                    <a:pt x="4727" y="13474"/>
                  </a:lnTo>
                  <a:lnTo>
                    <a:pt x="4778" y="13830"/>
                  </a:lnTo>
                  <a:lnTo>
                    <a:pt x="4837" y="14181"/>
                  </a:lnTo>
                  <a:lnTo>
                    <a:pt x="4913" y="14533"/>
                  </a:lnTo>
                  <a:lnTo>
                    <a:pt x="4953" y="14704"/>
                  </a:lnTo>
                  <a:lnTo>
                    <a:pt x="4993" y="14875"/>
                  </a:lnTo>
                  <a:lnTo>
                    <a:pt x="5069" y="15508"/>
                  </a:lnTo>
                  <a:lnTo>
                    <a:pt x="5069" y="16397"/>
                  </a:lnTo>
                  <a:lnTo>
                    <a:pt x="5069" y="16397"/>
                  </a:lnTo>
                  <a:lnTo>
                    <a:pt x="5069" y="16397"/>
                  </a:lnTo>
                  <a:lnTo>
                    <a:pt x="5044" y="16437"/>
                  </a:lnTo>
                  <a:lnTo>
                    <a:pt x="5029" y="16478"/>
                  </a:lnTo>
                  <a:lnTo>
                    <a:pt x="5018" y="16523"/>
                  </a:lnTo>
                  <a:lnTo>
                    <a:pt x="5013" y="16563"/>
                  </a:lnTo>
                  <a:lnTo>
                    <a:pt x="5018" y="16608"/>
                  </a:lnTo>
                  <a:lnTo>
                    <a:pt x="5029" y="16649"/>
                  </a:lnTo>
                  <a:lnTo>
                    <a:pt x="5044" y="16688"/>
                  </a:lnTo>
                  <a:lnTo>
                    <a:pt x="5069" y="16729"/>
                  </a:lnTo>
                  <a:lnTo>
                    <a:pt x="5069" y="16734"/>
                  </a:lnTo>
                  <a:lnTo>
                    <a:pt x="5069" y="17452"/>
                  </a:lnTo>
                  <a:lnTo>
                    <a:pt x="5069" y="17452"/>
                  </a:lnTo>
                  <a:lnTo>
                    <a:pt x="5054" y="17532"/>
                  </a:lnTo>
                  <a:lnTo>
                    <a:pt x="5029" y="17608"/>
                  </a:lnTo>
                  <a:lnTo>
                    <a:pt x="5004" y="17673"/>
                  </a:lnTo>
                  <a:lnTo>
                    <a:pt x="4968" y="17739"/>
                  </a:lnTo>
                  <a:lnTo>
                    <a:pt x="4933" y="17794"/>
                  </a:lnTo>
                  <a:lnTo>
                    <a:pt x="4888" y="17844"/>
                  </a:lnTo>
                  <a:lnTo>
                    <a:pt x="4843" y="17889"/>
                  </a:lnTo>
                  <a:lnTo>
                    <a:pt x="4787" y="17929"/>
                  </a:lnTo>
                  <a:lnTo>
                    <a:pt x="4732" y="17965"/>
                  </a:lnTo>
                  <a:lnTo>
                    <a:pt x="4672" y="18000"/>
                  </a:lnTo>
                  <a:lnTo>
                    <a:pt x="4607" y="18025"/>
                  </a:lnTo>
                  <a:lnTo>
                    <a:pt x="4536" y="18050"/>
                  </a:lnTo>
                  <a:lnTo>
                    <a:pt x="4466" y="18070"/>
                  </a:lnTo>
                  <a:lnTo>
                    <a:pt x="4390" y="18085"/>
                  </a:lnTo>
                  <a:lnTo>
                    <a:pt x="4315" y="18095"/>
                  </a:lnTo>
                  <a:lnTo>
                    <a:pt x="4235" y="18105"/>
                  </a:lnTo>
                  <a:lnTo>
                    <a:pt x="2542" y="18105"/>
                  </a:lnTo>
                </a:path>
              </a:pathLst>
            </a:custGeom>
            <a:noFill/>
            <a:ln w="12700">
              <a:solidFill>
                <a:schemeClr val="bg1">
                  <a:alpha val="30000"/>
                </a:schemeClr>
              </a:solidFill>
            </a:ln>
            <a:effectLst/>
          </p:spPr>
          <p:txBody>
            <a:bodyPr wrap="none" anchor="ctr"/>
            <a:lstStyle/>
            <a:p>
              <a:endParaRPr lang="en-US" sz="1709"/>
            </a:p>
          </p:txBody>
        </p:sp>
        <p:sp>
          <p:nvSpPr>
            <p:cNvPr id="14" name="Freeform 13">
              <a:extLst>
                <a:ext uri="{FF2B5EF4-FFF2-40B4-BE49-F238E27FC236}">
                  <a16:creationId xmlns:a16="http://schemas.microsoft.com/office/drawing/2014/main" id="{4A77C6DA-2596-C240-B839-058AC7353493}"/>
                </a:ext>
              </a:extLst>
            </p:cNvPr>
            <p:cNvSpPr>
              <a:spLocks noChangeArrowheads="1"/>
            </p:cNvSpPr>
            <p:nvPr/>
          </p:nvSpPr>
          <p:spPr bwMode="auto">
            <a:xfrm>
              <a:off x="5668206" y="1086914"/>
              <a:ext cx="1479255" cy="5049296"/>
            </a:xfrm>
            <a:custGeom>
              <a:avLst/>
              <a:gdLst>
                <a:gd name="T0" fmla="*/ 5349 w 5858"/>
                <a:gd name="T1" fmla="*/ 16141 h 19990"/>
                <a:gd name="T2" fmla="*/ 5289 w 5858"/>
                <a:gd name="T3" fmla="*/ 15548 h 19990"/>
                <a:gd name="T4" fmla="*/ 5319 w 5858"/>
                <a:gd name="T5" fmla="*/ 14920 h 19990"/>
                <a:gd name="T6" fmla="*/ 5807 w 5858"/>
                <a:gd name="T7" fmla="*/ 11554 h 19990"/>
                <a:gd name="T8" fmla="*/ 5741 w 5858"/>
                <a:gd name="T9" fmla="*/ 11278 h 19990"/>
                <a:gd name="T10" fmla="*/ 5706 w 5858"/>
                <a:gd name="T11" fmla="*/ 11162 h 19990"/>
                <a:gd name="T12" fmla="*/ 5771 w 5858"/>
                <a:gd name="T13" fmla="*/ 10018 h 19990"/>
                <a:gd name="T14" fmla="*/ 5721 w 5858"/>
                <a:gd name="T15" fmla="*/ 9018 h 19990"/>
                <a:gd name="T16" fmla="*/ 5536 w 5858"/>
                <a:gd name="T17" fmla="*/ 7943 h 19990"/>
                <a:gd name="T18" fmla="*/ 5505 w 5858"/>
                <a:gd name="T19" fmla="*/ 7295 h 19990"/>
                <a:gd name="T20" fmla="*/ 5505 w 5858"/>
                <a:gd name="T21" fmla="*/ 7179 h 19990"/>
                <a:gd name="T22" fmla="*/ 4586 w 5858"/>
                <a:gd name="T23" fmla="*/ 4466 h 19990"/>
                <a:gd name="T24" fmla="*/ 4290 w 5858"/>
                <a:gd name="T25" fmla="*/ 3371 h 19990"/>
                <a:gd name="T26" fmla="*/ 4184 w 5858"/>
                <a:gd name="T27" fmla="*/ 2738 h 19990"/>
                <a:gd name="T28" fmla="*/ 4159 w 5858"/>
                <a:gd name="T29" fmla="*/ 1583 h 19990"/>
                <a:gd name="T30" fmla="*/ 4184 w 5858"/>
                <a:gd name="T31" fmla="*/ 1512 h 19990"/>
                <a:gd name="T32" fmla="*/ 4290 w 5858"/>
                <a:gd name="T33" fmla="*/ 1432 h 19990"/>
                <a:gd name="T34" fmla="*/ 4179 w 5858"/>
                <a:gd name="T35" fmla="*/ 1015 h 19990"/>
                <a:gd name="T36" fmla="*/ 4103 w 5858"/>
                <a:gd name="T37" fmla="*/ 633 h 19990"/>
                <a:gd name="T38" fmla="*/ 4133 w 5858"/>
                <a:gd name="T39" fmla="*/ 477 h 19990"/>
                <a:gd name="T40" fmla="*/ 4174 w 5858"/>
                <a:gd name="T41" fmla="*/ 402 h 19990"/>
                <a:gd name="T42" fmla="*/ 4164 w 5858"/>
                <a:gd name="T43" fmla="*/ 276 h 19990"/>
                <a:gd name="T44" fmla="*/ 3983 w 5858"/>
                <a:gd name="T45" fmla="*/ 141 h 19990"/>
                <a:gd name="T46" fmla="*/ 3250 w 5858"/>
                <a:gd name="T47" fmla="*/ 15 h 19990"/>
                <a:gd name="T48" fmla="*/ 2608 w 5858"/>
                <a:gd name="T49" fmla="*/ 15 h 19990"/>
                <a:gd name="T50" fmla="*/ 1874 w 5858"/>
                <a:gd name="T51" fmla="*/ 141 h 19990"/>
                <a:gd name="T52" fmla="*/ 1693 w 5858"/>
                <a:gd name="T53" fmla="*/ 276 h 19990"/>
                <a:gd name="T54" fmla="*/ 1683 w 5858"/>
                <a:gd name="T55" fmla="*/ 402 h 19990"/>
                <a:gd name="T56" fmla="*/ 1723 w 5858"/>
                <a:gd name="T57" fmla="*/ 477 h 19990"/>
                <a:gd name="T58" fmla="*/ 1753 w 5858"/>
                <a:gd name="T59" fmla="*/ 633 h 19990"/>
                <a:gd name="T60" fmla="*/ 1678 w 5858"/>
                <a:gd name="T61" fmla="*/ 1015 h 19990"/>
                <a:gd name="T62" fmla="*/ 1563 w 5858"/>
                <a:gd name="T63" fmla="*/ 1432 h 19990"/>
                <a:gd name="T64" fmla="*/ 1673 w 5858"/>
                <a:gd name="T65" fmla="*/ 1512 h 19990"/>
                <a:gd name="T66" fmla="*/ 1698 w 5858"/>
                <a:gd name="T67" fmla="*/ 1583 h 19990"/>
                <a:gd name="T68" fmla="*/ 1668 w 5858"/>
                <a:gd name="T69" fmla="*/ 2738 h 19990"/>
                <a:gd name="T70" fmla="*/ 1563 w 5858"/>
                <a:gd name="T71" fmla="*/ 3371 h 19990"/>
                <a:gd name="T72" fmla="*/ 1271 w 5858"/>
                <a:gd name="T73" fmla="*/ 4466 h 19990"/>
                <a:gd name="T74" fmla="*/ 352 w 5858"/>
                <a:gd name="T75" fmla="*/ 7179 h 19990"/>
                <a:gd name="T76" fmla="*/ 397 w 5858"/>
                <a:gd name="T77" fmla="*/ 7601 h 19990"/>
                <a:gd name="T78" fmla="*/ 166 w 5858"/>
                <a:gd name="T79" fmla="*/ 8817 h 19990"/>
                <a:gd name="T80" fmla="*/ 101 w 5858"/>
                <a:gd name="T81" fmla="*/ 9907 h 19990"/>
                <a:gd name="T82" fmla="*/ 151 w 5858"/>
                <a:gd name="T83" fmla="*/ 11137 h 19990"/>
                <a:gd name="T84" fmla="*/ 116 w 5858"/>
                <a:gd name="T85" fmla="*/ 11278 h 19990"/>
                <a:gd name="T86" fmla="*/ 46 w 5858"/>
                <a:gd name="T87" fmla="*/ 11494 h 19990"/>
                <a:gd name="T88" fmla="*/ 523 w 5858"/>
                <a:gd name="T89" fmla="*/ 14794 h 19990"/>
                <a:gd name="T90" fmla="*/ 568 w 5858"/>
                <a:gd name="T91" fmla="*/ 15422 h 19990"/>
                <a:gd name="T92" fmla="*/ 528 w 5858"/>
                <a:gd name="T93" fmla="*/ 16025 h 19990"/>
                <a:gd name="T94" fmla="*/ 60 w 5858"/>
                <a:gd name="T95" fmla="*/ 17769 h 19990"/>
                <a:gd name="T96" fmla="*/ 0 w 5858"/>
                <a:gd name="T97" fmla="*/ 18311 h 19990"/>
                <a:gd name="T98" fmla="*/ 30 w 5858"/>
                <a:gd name="T99" fmla="*/ 18818 h 19990"/>
                <a:gd name="T100" fmla="*/ 146 w 5858"/>
                <a:gd name="T101" fmla="*/ 19266 h 19990"/>
                <a:gd name="T102" fmla="*/ 558 w 5858"/>
                <a:gd name="T103" fmla="*/ 19552 h 19990"/>
                <a:gd name="T104" fmla="*/ 1342 w 5858"/>
                <a:gd name="T105" fmla="*/ 19829 h 19990"/>
                <a:gd name="T106" fmla="*/ 2266 w 5858"/>
                <a:gd name="T107" fmla="*/ 19974 h 19990"/>
                <a:gd name="T108" fmla="*/ 2989 w 5858"/>
                <a:gd name="T109" fmla="*/ 19984 h 19990"/>
                <a:gd name="T110" fmla="*/ 3782 w 5858"/>
                <a:gd name="T111" fmla="*/ 19959 h 19990"/>
                <a:gd name="T112" fmla="*/ 4686 w 5858"/>
                <a:gd name="T113" fmla="*/ 19778 h 19990"/>
                <a:gd name="T114" fmla="*/ 5430 w 5858"/>
                <a:gd name="T115" fmla="*/ 19487 h 19990"/>
                <a:gd name="T116" fmla="*/ 5741 w 5858"/>
                <a:gd name="T117" fmla="*/ 19181 h 19990"/>
                <a:gd name="T118" fmla="*/ 5842 w 5858"/>
                <a:gd name="T119" fmla="*/ 18723 h 19990"/>
                <a:gd name="T120" fmla="*/ 5852 w 5858"/>
                <a:gd name="T121" fmla="*/ 18206 h 19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8" h="19990">
                  <a:moveTo>
                    <a:pt x="5796" y="17769"/>
                  </a:moveTo>
                  <a:lnTo>
                    <a:pt x="5399" y="16372"/>
                  </a:lnTo>
                  <a:lnTo>
                    <a:pt x="5399" y="16372"/>
                  </a:lnTo>
                  <a:lnTo>
                    <a:pt x="5374" y="16256"/>
                  </a:lnTo>
                  <a:lnTo>
                    <a:pt x="5349" y="16141"/>
                  </a:lnTo>
                  <a:lnTo>
                    <a:pt x="5329" y="16025"/>
                  </a:lnTo>
                  <a:lnTo>
                    <a:pt x="5314" y="15910"/>
                  </a:lnTo>
                  <a:lnTo>
                    <a:pt x="5299" y="15789"/>
                  </a:lnTo>
                  <a:lnTo>
                    <a:pt x="5294" y="15668"/>
                  </a:lnTo>
                  <a:lnTo>
                    <a:pt x="5289" y="15548"/>
                  </a:lnTo>
                  <a:lnTo>
                    <a:pt x="5289" y="15422"/>
                  </a:lnTo>
                  <a:lnTo>
                    <a:pt x="5289" y="15302"/>
                  </a:lnTo>
                  <a:lnTo>
                    <a:pt x="5294" y="15176"/>
                  </a:lnTo>
                  <a:lnTo>
                    <a:pt x="5304" y="15050"/>
                  </a:lnTo>
                  <a:lnTo>
                    <a:pt x="5319" y="14920"/>
                  </a:lnTo>
                  <a:lnTo>
                    <a:pt x="5335" y="14794"/>
                  </a:lnTo>
                  <a:lnTo>
                    <a:pt x="5354" y="14664"/>
                  </a:lnTo>
                  <a:lnTo>
                    <a:pt x="5399" y="14398"/>
                  </a:lnTo>
                  <a:lnTo>
                    <a:pt x="5807" y="11554"/>
                  </a:lnTo>
                  <a:lnTo>
                    <a:pt x="5807" y="11554"/>
                  </a:lnTo>
                  <a:lnTo>
                    <a:pt x="5812" y="11494"/>
                  </a:lnTo>
                  <a:lnTo>
                    <a:pt x="5802" y="11428"/>
                  </a:lnTo>
                  <a:lnTo>
                    <a:pt x="5787" y="11368"/>
                  </a:lnTo>
                  <a:lnTo>
                    <a:pt x="5762" y="11308"/>
                  </a:lnTo>
                  <a:lnTo>
                    <a:pt x="5741" y="11278"/>
                  </a:lnTo>
                  <a:lnTo>
                    <a:pt x="5741" y="11278"/>
                  </a:lnTo>
                  <a:lnTo>
                    <a:pt x="5726" y="11247"/>
                  </a:lnTo>
                  <a:lnTo>
                    <a:pt x="5716" y="11222"/>
                  </a:lnTo>
                  <a:lnTo>
                    <a:pt x="5711" y="11192"/>
                  </a:lnTo>
                  <a:lnTo>
                    <a:pt x="5706" y="11162"/>
                  </a:lnTo>
                  <a:lnTo>
                    <a:pt x="5706" y="11162"/>
                  </a:lnTo>
                  <a:lnTo>
                    <a:pt x="5726" y="10836"/>
                  </a:lnTo>
                  <a:lnTo>
                    <a:pt x="5746" y="10514"/>
                  </a:lnTo>
                  <a:lnTo>
                    <a:pt x="5766" y="10188"/>
                  </a:lnTo>
                  <a:lnTo>
                    <a:pt x="5771" y="10018"/>
                  </a:lnTo>
                  <a:lnTo>
                    <a:pt x="5771" y="9837"/>
                  </a:lnTo>
                  <a:lnTo>
                    <a:pt x="5771" y="9651"/>
                  </a:lnTo>
                  <a:lnTo>
                    <a:pt x="5762" y="9450"/>
                  </a:lnTo>
                  <a:lnTo>
                    <a:pt x="5746" y="9239"/>
                  </a:lnTo>
                  <a:lnTo>
                    <a:pt x="5721" y="9018"/>
                  </a:lnTo>
                  <a:lnTo>
                    <a:pt x="5691" y="8772"/>
                  </a:lnTo>
                  <a:lnTo>
                    <a:pt x="5651" y="8515"/>
                  </a:lnTo>
                  <a:lnTo>
                    <a:pt x="5600" y="8234"/>
                  </a:lnTo>
                  <a:lnTo>
                    <a:pt x="5536" y="7933"/>
                  </a:lnTo>
                  <a:lnTo>
                    <a:pt x="5536" y="7943"/>
                  </a:lnTo>
                  <a:lnTo>
                    <a:pt x="5536" y="7943"/>
                  </a:lnTo>
                  <a:lnTo>
                    <a:pt x="5460" y="7601"/>
                  </a:lnTo>
                  <a:lnTo>
                    <a:pt x="5460" y="7601"/>
                  </a:lnTo>
                  <a:lnTo>
                    <a:pt x="5536" y="7933"/>
                  </a:lnTo>
                  <a:lnTo>
                    <a:pt x="5505" y="7295"/>
                  </a:lnTo>
                  <a:lnTo>
                    <a:pt x="5505" y="7295"/>
                  </a:lnTo>
                  <a:lnTo>
                    <a:pt x="5510" y="7265"/>
                  </a:lnTo>
                  <a:lnTo>
                    <a:pt x="5515" y="7240"/>
                  </a:lnTo>
                  <a:lnTo>
                    <a:pt x="5510" y="7209"/>
                  </a:lnTo>
                  <a:lnTo>
                    <a:pt x="5505" y="7179"/>
                  </a:lnTo>
                  <a:lnTo>
                    <a:pt x="4762" y="4964"/>
                  </a:lnTo>
                  <a:lnTo>
                    <a:pt x="4762" y="4964"/>
                  </a:lnTo>
                  <a:lnTo>
                    <a:pt x="4701" y="4818"/>
                  </a:lnTo>
                  <a:lnTo>
                    <a:pt x="4641" y="4652"/>
                  </a:lnTo>
                  <a:lnTo>
                    <a:pt x="4586" y="4466"/>
                  </a:lnTo>
                  <a:lnTo>
                    <a:pt x="4525" y="4270"/>
                  </a:lnTo>
                  <a:lnTo>
                    <a:pt x="4465" y="4059"/>
                  </a:lnTo>
                  <a:lnTo>
                    <a:pt x="4410" y="3838"/>
                  </a:lnTo>
                  <a:lnTo>
                    <a:pt x="4290" y="3371"/>
                  </a:lnTo>
                  <a:lnTo>
                    <a:pt x="4290" y="3371"/>
                  </a:lnTo>
                  <a:lnTo>
                    <a:pt x="4264" y="3246"/>
                  </a:lnTo>
                  <a:lnTo>
                    <a:pt x="4239" y="3120"/>
                  </a:lnTo>
                  <a:lnTo>
                    <a:pt x="4219" y="2994"/>
                  </a:lnTo>
                  <a:lnTo>
                    <a:pt x="4199" y="2869"/>
                  </a:lnTo>
                  <a:lnTo>
                    <a:pt x="4184" y="2738"/>
                  </a:lnTo>
                  <a:lnTo>
                    <a:pt x="4174" y="2612"/>
                  </a:lnTo>
                  <a:lnTo>
                    <a:pt x="4169" y="2487"/>
                  </a:lnTo>
                  <a:lnTo>
                    <a:pt x="4164" y="2356"/>
                  </a:lnTo>
                  <a:lnTo>
                    <a:pt x="4164" y="2356"/>
                  </a:lnTo>
                  <a:lnTo>
                    <a:pt x="4159" y="1583"/>
                  </a:lnTo>
                  <a:lnTo>
                    <a:pt x="4159" y="1583"/>
                  </a:lnTo>
                  <a:lnTo>
                    <a:pt x="4159" y="1562"/>
                  </a:lnTo>
                  <a:lnTo>
                    <a:pt x="4164" y="1547"/>
                  </a:lnTo>
                  <a:lnTo>
                    <a:pt x="4174" y="1527"/>
                  </a:lnTo>
                  <a:lnTo>
                    <a:pt x="4184" y="1512"/>
                  </a:lnTo>
                  <a:lnTo>
                    <a:pt x="4209" y="1487"/>
                  </a:lnTo>
                  <a:lnTo>
                    <a:pt x="4244" y="1472"/>
                  </a:lnTo>
                  <a:lnTo>
                    <a:pt x="4244" y="1472"/>
                  </a:lnTo>
                  <a:lnTo>
                    <a:pt x="4274" y="1457"/>
                  </a:lnTo>
                  <a:lnTo>
                    <a:pt x="4290" y="1432"/>
                  </a:lnTo>
                  <a:lnTo>
                    <a:pt x="4304" y="1396"/>
                  </a:lnTo>
                  <a:lnTo>
                    <a:pt x="4309" y="1351"/>
                  </a:lnTo>
                  <a:lnTo>
                    <a:pt x="4309" y="1351"/>
                  </a:lnTo>
                  <a:lnTo>
                    <a:pt x="4214" y="1120"/>
                  </a:lnTo>
                  <a:lnTo>
                    <a:pt x="4179" y="1015"/>
                  </a:lnTo>
                  <a:lnTo>
                    <a:pt x="4149" y="919"/>
                  </a:lnTo>
                  <a:lnTo>
                    <a:pt x="4124" y="834"/>
                  </a:lnTo>
                  <a:lnTo>
                    <a:pt x="4108" y="753"/>
                  </a:lnTo>
                  <a:lnTo>
                    <a:pt x="4103" y="689"/>
                  </a:lnTo>
                  <a:lnTo>
                    <a:pt x="4103" y="633"/>
                  </a:lnTo>
                  <a:lnTo>
                    <a:pt x="4103" y="633"/>
                  </a:lnTo>
                  <a:lnTo>
                    <a:pt x="4099" y="593"/>
                  </a:lnTo>
                  <a:lnTo>
                    <a:pt x="4103" y="552"/>
                  </a:lnTo>
                  <a:lnTo>
                    <a:pt x="4114" y="513"/>
                  </a:lnTo>
                  <a:lnTo>
                    <a:pt x="4133" y="477"/>
                  </a:lnTo>
                  <a:lnTo>
                    <a:pt x="4139" y="472"/>
                  </a:lnTo>
                  <a:lnTo>
                    <a:pt x="4139" y="472"/>
                  </a:lnTo>
                  <a:lnTo>
                    <a:pt x="4154" y="452"/>
                  </a:lnTo>
                  <a:lnTo>
                    <a:pt x="4164" y="427"/>
                  </a:lnTo>
                  <a:lnTo>
                    <a:pt x="4174" y="402"/>
                  </a:lnTo>
                  <a:lnTo>
                    <a:pt x="4179" y="377"/>
                  </a:lnTo>
                  <a:lnTo>
                    <a:pt x="4179" y="352"/>
                  </a:lnTo>
                  <a:lnTo>
                    <a:pt x="4179" y="326"/>
                  </a:lnTo>
                  <a:lnTo>
                    <a:pt x="4174" y="301"/>
                  </a:lnTo>
                  <a:lnTo>
                    <a:pt x="4164" y="276"/>
                  </a:lnTo>
                  <a:lnTo>
                    <a:pt x="4164" y="276"/>
                  </a:lnTo>
                  <a:lnTo>
                    <a:pt x="4139" y="231"/>
                  </a:lnTo>
                  <a:lnTo>
                    <a:pt x="4114" y="181"/>
                  </a:lnTo>
                  <a:lnTo>
                    <a:pt x="4114" y="181"/>
                  </a:lnTo>
                  <a:lnTo>
                    <a:pt x="3983" y="141"/>
                  </a:lnTo>
                  <a:lnTo>
                    <a:pt x="3848" y="100"/>
                  </a:lnTo>
                  <a:lnTo>
                    <a:pt x="3702" y="71"/>
                  </a:lnTo>
                  <a:lnTo>
                    <a:pt x="3556" y="45"/>
                  </a:lnTo>
                  <a:lnTo>
                    <a:pt x="3405" y="25"/>
                  </a:lnTo>
                  <a:lnTo>
                    <a:pt x="3250" y="15"/>
                  </a:lnTo>
                  <a:lnTo>
                    <a:pt x="3094" y="5"/>
                  </a:lnTo>
                  <a:lnTo>
                    <a:pt x="2929" y="0"/>
                  </a:lnTo>
                  <a:lnTo>
                    <a:pt x="2929" y="0"/>
                  </a:lnTo>
                  <a:lnTo>
                    <a:pt x="2763" y="5"/>
                  </a:lnTo>
                  <a:lnTo>
                    <a:pt x="2608" y="15"/>
                  </a:lnTo>
                  <a:lnTo>
                    <a:pt x="2452" y="25"/>
                  </a:lnTo>
                  <a:lnTo>
                    <a:pt x="2301" y="45"/>
                  </a:lnTo>
                  <a:lnTo>
                    <a:pt x="2150" y="71"/>
                  </a:lnTo>
                  <a:lnTo>
                    <a:pt x="2010" y="100"/>
                  </a:lnTo>
                  <a:lnTo>
                    <a:pt x="1874" y="141"/>
                  </a:lnTo>
                  <a:lnTo>
                    <a:pt x="1743" y="181"/>
                  </a:lnTo>
                  <a:lnTo>
                    <a:pt x="1743" y="181"/>
                  </a:lnTo>
                  <a:lnTo>
                    <a:pt x="1718" y="231"/>
                  </a:lnTo>
                  <a:lnTo>
                    <a:pt x="1693" y="276"/>
                  </a:lnTo>
                  <a:lnTo>
                    <a:pt x="1693" y="276"/>
                  </a:lnTo>
                  <a:lnTo>
                    <a:pt x="1683" y="301"/>
                  </a:lnTo>
                  <a:lnTo>
                    <a:pt x="1678" y="326"/>
                  </a:lnTo>
                  <a:lnTo>
                    <a:pt x="1678" y="352"/>
                  </a:lnTo>
                  <a:lnTo>
                    <a:pt x="1678" y="377"/>
                  </a:lnTo>
                  <a:lnTo>
                    <a:pt x="1683" y="402"/>
                  </a:lnTo>
                  <a:lnTo>
                    <a:pt x="1693" y="427"/>
                  </a:lnTo>
                  <a:lnTo>
                    <a:pt x="1703" y="452"/>
                  </a:lnTo>
                  <a:lnTo>
                    <a:pt x="1718" y="472"/>
                  </a:lnTo>
                  <a:lnTo>
                    <a:pt x="1723" y="477"/>
                  </a:lnTo>
                  <a:lnTo>
                    <a:pt x="1723" y="477"/>
                  </a:lnTo>
                  <a:lnTo>
                    <a:pt x="1743" y="513"/>
                  </a:lnTo>
                  <a:lnTo>
                    <a:pt x="1753" y="552"/>
                  </a:lnTo>
                  <a:lnTo>
                    <a:pt x="1759" y="593"/>
                  </a:lnTo>
                  <a:lnTo>
                    <a:pt x="1753" y="633"/>
                  </a:lnTo>
                  <a:lnTo>
                    <a:pt x="1753" y="633"/>
                  </a:lnTo>
                  <a:lnTo>
                    <a:pt x="1753" y="689"/>
                  </a:lnTo>
                  <a:lnTo>
                    <a:pt x="1748" y="753"/>
                  </a:lnTo>
                  <a:lnTo>
                    <a:pt x="1733" y="834"/>
                  </a:lnTo>
                  <a:lnTo>
                    <a:pt x="1708" y="919"/>
                  </a:lnTo>
                  <a:lnTo>
                    <a:pt x="1678" y="1015"/>
                  </a:lnTo>
                  <a:lnTo>
                    <a:pt x="1643" y="1120"/>
                  </a:lnTo>
                  <a:lnTo>
                    <a:pt x="1547" y="1351"/>
                  </a:lnTo>
                  <a:lnTo>
                    <a:pt x="1547" y="1351"/>
                  </a:lnTo>
                  <a:lnTo>
                    <a:pt x="1552" y="1396"/>
                  </a:lnTo>
                  <a:lnTo>
                    <a:pt x="1563" y="1432"/>
                  </a:lnTo>
                  <a:lnTo>
                    <a:pt x="1583" y="1457"/>
                  </a:lnTo>
                  <a:lnTo>
                    <a:pt x="1613" y="1472"/>
                  </a:lnTo>
                  <a:lnTo>
                    <a:pt x="1613" y="1472"/>
                  </a:lnTo>
                  <a:lnTo>
                    <a:pt x="1648" y="1487"/>
                  </a:lnTo>
                  <a:lnTo>
                    <a:pt x="1673" y="1512"/>
                  </a:lnTo>
                  <a:lnTo>
                    <a:pt x="1683" y="1527"/>
                  </a:lnTo>
                  <a:lnTo>
                    <a:pt x="1693" y="1547"/>
                  </a:lnTo>
                  <a:lnTo>
                    <a:pt x="1698" y="1562"/>
                  </a:lnTo>
                  <a:lnTo>
                    <a:pt x="1698" y="1583"/>
                  </a:lnTo>
                  <a:lnTo>
                    <a:pt x="1698" y="1583"/>
                  </a:lnTo>
                  <a:lnTo>
                    <a:pt x="1693" y="2356"/>
                  </a:lnTo>
                  <a:lnTo>
                    <a:pt x="1693" y="2356"/>
                  </a:lnTo>
                  <a:lnTo>
                    <a:pt x="1688" y="2487"/>
                  </a:lnTo>
                  <a:lnTo>
                    <a:pt x="1683" y="2612"/>
                  </a:lnTo>
                  <a:lnTo>
                    <a:pt x="1668" y="2738"/>
                  </a:lnTo>
                  <a:lnTo>
                    <a:pt x="1658" y="2869"/>
                  </a:lnTo>
                  <a:lnTo>
                    <a:pt x="1638" y="2994"/>
                  </a:lnTo>
                  <a:lnTo>
                    <a:pt x="1618" y="3120"/>
                  </a:lnTo>
                  <a:lnTo>
                    <a:pt x="1593" y="3246"/>
                  </a:lnTo>
                  <a:lnTo>
                    <a:pt x="1563" y="3371"/>
                  </a:lnTo>
                  <a:lnTo>
                    <a:pt x="1563" y="3371"/>
                  </a:lnTo>
                  <a:lnTo>
                    <a:pt x="1447" y="3838"/>
                  </a:lnTo>
                  <a:lnTo>
                    <a:pt x="1392" y="4059"/>
                  </a:lnTo>
                  <a:lnTo>
                    <a:pt x="1331" y="4270"/>
                  </a:lnTo>
                  <a:lnTo>
                    <a:pt x="1271" y="4466"/>
                  </a:lnTo>
                  <a:lnTo>
                    <a:pt x="1211" y="4652"/>
                  </a:lnTo>
                  <a:lnTo>
                    <a:pt x="1155" y="4818"/>
                  </a:lnTo>
                  <a:lnTo>
                    <a:pt x="1095" y="4964"/>
                  </a:lnTo>
                  <a:lnTo>
                    <a:pt x="352" y="7179"/>
                  </a:lnTo>
                  <a:lnTo>
                    <a:pt x="352" y="7179"/>
                  </a:lnTo>
                  <a:lnTo>
                    <a:pt x="347" y="7209"/>
                  </a:lnTo>
                  <a:lnTo>
                    <a:pt x="342" y="7240"/>
                  </a:lnTo>
                  <a:lnTo>
                    <a:pt x="347" y="7265"/>
                  </a:lnTo>
                  <a:lnTo>
                    <a:pt x="352" y="7295"/>
                  </a:lnTo>
                  <a:lnTo>
                    <a:pt x="397" y="7601"/>
                  </a:lnTo>
                  <a:lnTo>
                    <a:pt x="397" y="7601"/>
                  </a:lnTo>
                  <a:lnTo>
                    <a:pt x="317" y="7943"/>
                  </a:lnTo>
                  <a:lnTo>
                    <a:pt x="256" y="8260"/>
                  </a:lnTo>
                  <a:lnTo>
                    <a:pt x="206" y="8545"/>
                  </a:lnTo>
                  <a:lnTo>
                    <a:pt x="166" y="8817"/>
                  </a:lnTo>
                  <a:lnTo>
                    <a:pt x="141" y="9063"/>
                  </a:lnTo>
                  <a:lnTo>
                    <a:pt x="121" y="9294"/>
                  </a:lnTo>
                  <a:lnTo>
                    <a:pt x="106" y="9510"/>
                  </a:lnTo>
                  <a:lnTo>
                    <a:pt x="101" y="9716"/>
                  </a:lnTo>
                  <a:lnTo>
                    <a:pt x="101" y="9907"/>
                  </a:lnTo>
                  <a:lnTo>
                    <a:pt x="106" y="10093"/>
                  </a:lnTo>
                  <a:lnTo>
                    <a:pt x="121" y="10440"/>
                  </a:lnTo>
                  <a:lnTo>
                    <a:pt x="141" y="10785"/>
                  </a:lnTo>
                  <a:lnTo>
                    <a:pt x="146" y="10956"/>
                  </a:lnTo>
                  <a:lnTo>
                    <a:pt x="151" y="11137"/>
                  </a:lnTo>
                  <a:lnTo>
                    <a:pt x="151" y="11137"/>
                  </a:lnTo>
                  <a:lnTo>
                    <a:pt x="151" y="11172"/>
                  </a:lnTo>
                  <a:lnTo>
                    <a:pt x="141" y="11207"/>
                  </a:lnTo>
                  <a:lnTo>
                    <a:pt x="131" y="11243"/>
                  </a:lnTo>
                  <a:lnTo>
                    <a:pt x="116" y="11278"/>
                  </a:lnTo>
                  <a:lnTo>
                    <a:pt x="96" y="11308"/>
                  </a:lnTo>
                  <a:lnTo>
                    <a:pt x="96" y="11308"/>
                  </a:lnTo>
                  <a:lnTo>
                    <a:pt x="71" y="11368"/>
                  </a:lnTo>
                  <a:lnTo>
                    <a:pt x="51" y="11428"/>
                  </a:lnTo>
                  <a:lnTo>
                    <a:pt x="46" y="11494"/>
                  </a:lnTo>
                  <a:lnTo>
                    <a:pt x="51" y="11554"/>
                  </a:lnTo>
                  <a:lnTo>
                    <a:pt x="457" y="14398"/>
                  </a:lnTo>
                  <a:lnTo>
                    <a:pt x="457" y="14398"/>
                  </a:lnTo>
                  <a:lnTo>
                    <a:pt x="503" y="14664"/>
                  </a:lnTo>
                  <a:lnTo>
                    <a:pt x="523" y="14794"/>
                  </a:lnTo>
                  <a:lnTo>
                    <a:pt x="538" y="14920"/>
                  </a:lnTo>
                  <a:lnTo>
                    <a:pt x="553" y="15050"/>
                  </a:lnTo>
                  <a:lnTo>
                    <a:pt x="563" y="15176"/>
                  </a:lnTo>
                  <a:lnTo>
                    <a:pt x="568" y="15302"/>
                  </a:lnTo>
                  <a:lnTo>
                    <a:pt x="568" y="15422"/>
                  </a:lnTo>
                  <a:lnTo>
                    <a:pt x="568" y="15548"/>
                  </a:lnTo>
                  <a:lnTo>
                    <a:pt x="563" y="15668"/>
                  </a:lnTo>
                  <a:lnTo>
                    <a:pt x="553" y="15789"/>
                  </a:lnTo>
                  <a:lnTo>
                    <a:pt x="543" y="15910"/>
                  </a:lnTo>
                  <a:lnTo>
                    <a:pt x="528" y="16025"/>
                  </a:lnTo>
                  <a:lnTo>
                    <a:pt x="507" y="16141"/>
                  </a:lnTo>
                  <a:lnTo>
                    <a:pt x="482" y="16256"/>
                  </a:lnTo>
                  <a:lnTo>
                    <a:pt x="457" y="16372"/>
                  </a:lnTo>
                  <a:lnTo>
                    <a:pt x="60" y="17769"/>
                  </a:lnTo>
                  <a:lnTo>
                    <a:pt x="60" y="17769"/>
                  </a:lnTo>
                  <a:lnTo>
                    <a:pt x="40" y="17879"/>
                  </a:lnTo>
                  <a:lnTo>
                    <a:pt x="26" y="17990"/>
                  </a:lnTo>
                  <a:lnTo>
                    <a:pt x="15" y="18100"/>
                  </a:lnTo>
                  <a:lnTo>
                    <a:pt x="5" y="18206"/>
                  </a:lnTo>
                  <a:lnTo>
                    <a:pt x="0" y="18311"/>
                  </a:lnTo>
                  <a:lnTo>
                    <a:pt x="0" y="18417"/>
                  </a:lnTo>
                  <a:lnTo>
                    <a:pt x="0" y="18522"/>
                  </a:lnTo>
                  <a:lnTo>
                    <a:pt x="5" y="18622"/>
                  </a:lnTo>
                  <a:lnTo>
                    <a:pt x="15" y="18723"/>
                  </a:lnTo>
                  <a:lnTo>
                    <a:pt x="30" y="18818"/>
                  </a:lnTo>
                  <a:lnTo>
                    <a:pt x="46" y="18914"/>
                  </a:lnTo>
                  <a:lnTo>
                    <a:pt x="65" y="19010"/>
                  </a:lnTo>
                  <a:lnTo>
                    <a:pt x="90" y="19095"/>
                  </a:lnTo>
                  <a:lnTo>
                    <a:pt x="116" y="19181"/>
                  </a:lnTo>
                  <a:lnTo>
                    <a:pt x="146" y="19266"/>
                  </a:lnTo>
                  <a:lnTo>
                    <a:pt x="181" y="19346"/>
                  </a:lnTo>
                  <a:lnTo>
                    <a:pt x="181" y="19346"/>
                  </a:lnTo>
                  <a:lnTo>
                    <a:pt x="297" y="19416"/>
                  </a:lnTo>
                  <a:lnTo>
                    <a:pt x="422" y="19487"/>
                  </a:lnTo>
                  <a:lnTo>
                    <a:pt x="558" y="19552"/>
                  </a:lnTo>
                  <a:lnTo>
                    <a:pt x="699" y="19612"/>
                  </a:lnTo>
                  <a:lnTo>
                    <a:pt x="849" y="19673"/>
                  </a:lnTo>
                  <a:lnTo>
                    <a:pt x="1005" y="19728"/>
                  </a:lnTo>
                  <a:lnTo>
                    <a:pt x="1171" y="19778"/>
                  </a:lnTo>
                  <a:lnTo>
                    <a:pt x="1342" y="19829"/>
                  </a:lnTo>
                  <a:lnTo>
                    <a:pt x="1517" y="19869"/>
                  </a:lnTo>
                  <a:lnTo>
                    <a:pt x="1698" y="19904"/>
                  </a:lnTo>
                  <a:lnTo>
                    <a:pt x="1884" y="19934"/>
                  </a:lnTo>
                  <a:lnTo>
                    <a:pt x="2075" y="19959"/>
                  </a:lnTo>
                  <a:lnTo>
                    <a:pt x="2266" y="19974"/>
                  </a:lnTo>
                  <a:lnTo>
                    <a:pt x="2467" y="19984"/>
                  </a:lnTo>
                  <a:lnTo>
                    <a:pt x="2668" y="19989"/>
                  </a:lnTo>
                  <a:lnTo>
                    <a:pt x="2868" y="19984"/>
                  </a:lnTo>
                  <a:lnTo>
                    <a:pt x="2868" y="19984"/>
                  </a:lnTo>
                  <a:lnTo>
                    <a:pt x="2989" y="19984"/>
                  </a:lnTo>
                  <a:lnTo>
                    <a:pt x="2989" y="19984"/>
                  </a:lnTo>
                  <a:lnTo>
                    <a:pt x="3189" y="19989"/>
                  </a:lnTo>
                  <a:lnTo>
                    <a:pt x="3390" y="19984"/>
                  </a:lnTo>
                  <a:lnTo>
                    <a:pt x="3591" y="19974"/>
                  </a:lnTo>
                  <a:lnTo>
                    <a:pt x="3782" y="19959"/>
                  </a:lnTo>
                  <a:lnTo>
                    <a:pt x="3973" y="19934"/>
                  </a:lnTo>
                  <a:lnTo>
                    <a:pt x="4159" y="19904"/>
                  </a:lnTo>
                  <a:lnTo>
                    <a:pt x="4340" y="19869"/>
                  </a:lnTo>
                  <a:lnTo>
                    <a:pt x="4516" y="19829"/>
                  </a:lnTo>
                  <a:lnTo>
                    <a:pt x="4686" y="19778"/>
                  </a:lnTo>
                  <a:lnTo>
                    <a:pt x="4847" y="19728"/>
                  </a:lnTo>
                  <a:lnTo>
                    <a:pt x="5008" y="19673"/>
                  </a:lnTo>
                  <a:lnTo>
                    <a:pt x="5153" y="19612"/>
                  </a:lnTo>
                  <a:lnTo>
                    <a:pt x="5299" y="19552"/>
                  </a:lnTo>
                  <a:lnTo>
                    <a:pt x="5430" y="19487"/>
                  </a:lnTo>
                  <a:lnTo>
                    <a:pt x="5556" y="19416"/>
                  </a:lnTo>
                  <a:lnTo>
                    <a:pt x="5676" y="19346"/>
                  </a:lnTo>
                  <a:lnTo>
                    <a:pt x="5676" y="19346"/>
                  </a:lnTo>
                  <a:lnTo>
                    <a:pt x="5711" y="19266"/>
                  </a:lnTo>
                  <a:lnTo>
                    <a:pt x="5741" y="19181"/>
                  </a:lnTo>
                  <a:lnTo>
                    <a:pt x="5766" y="19095"/>
                  </a:lnTo>
                  <a:lnTo>
                    <a:pt x="5791" y="19010"/>
                  </a:lnTo>
                  <a:lnTo>
                    <a:pt x="5812" y="18914"/>
                  </a:lnTo>
                  <a:lnTo>
                    <a:pt x="5827" y="18818"/>
                  </a:lnTo>
                  <a:lnTo>
                    <a:pt x="5842" y="18723"/>
                  </a:lnTo>
                  <a:lnTo>
                    <a:pt x="5852" y="18622"/>
                  </a:lnTo>
                  <a:lnTo>
                    <a:pt x="5857" y="18522"/>
                  </a:lnTo>
                  <a:lnTo>
                    <a:pt x="5857" y="18417"/>
                  </a:lnTo>
                  <a:lnTo>
                    <a:pt x="5857" y="18311"/>
                  </a:lnTo>
                  <a:lnTo>
                    <a:pt x="5852" y="18206"/>
                  </a:lnTo>
                  <a:lnTo>
                    <a:pt x="5842" y="18100"/>
                  </a:lnTo>
                  <a:lnTo>
                    <a:pt x="5832" y="17990"/>
                  </a:lnTo>
                  <a:lnTo>
                    <a:pt x="5817" y="17879"/>
                  </a:lnTo>
                  <a:lnTo>
                    <a:pt x="5796" y="17769"/>
                  </a:lnTo>
                </a:path>
              </a:pathLst>
            </a:custGeom>
            <a:noFill/>
            <a:ln w="12700">
              <a:solidFill>
                <a:schemeClr val="bg1">
                  <a:alpha val="30000"/>
                </a:schemeClr>
              </a:solidFill>
            </a:ln>
            <a:effectLst/>
          </p:spPr>
          <p:txBody>
            <a:bodyPr wrap="none" anchor="ctr"/>
            <a:lstStyle/>
            <a:p>
              <a:endParaRPr lang="en-US" sz="1709"/>
            </a:p>
          </p:txBody>
        </p:sp>
        <p:cxnSp>
          <p:nvCxnSpPr>
            <p:cNvPr id="18" name="Straight Connector 17">
              <a:extLst>
                <a:ext uri="{FF2B5EF4-FFF2-40B4-BE49-F238E27FC236}">
                  <a16:creationId xmlns:a16="http://schemas.microsoft.com/office/drawing/2014/main" id="{144CF631-195D-5742-BCE7-86133F62121F}"/>
                </a:ext>
              </a:extLst>
            </p:cNvPr>
            <p:cNvCxnSpPr>
              <a:stCxn id="9" idx="11"/>
            </p:cNvCxnSpPr>
            <p:nvPr userDrawn="1"/>
          </p:nvCxnSpPr>
          <p:spPr>
            <a:xfrm flipH="1" flipV="1">
              <a:off x="3049434" y="3435531"/>
              <a:ext cx="1379446" cy="1751"/>
            </a:xfrm>
            <a:prstGeom prst="line">
              <a:avLst/>
            </a:prstGeom>
            <a:noFill/>
            <a:ln w="12700">
              <a:solidFill>
                <a:schemeClr val="bg1">
                  <a:alpha val="30000"/>
                </a:schemeClr>
              </a:solidFill>
            </a:ln>
            <a:effectLst/>
          </p:spPr>
        </p:cxnSp>
        <p:cxnSp>
          <p:nvCxnSpPr>
            <p:cNvPr id="19" name="Straight Connector 18">
              <a:extLst>
                <a:ext uri="{FF2B5EF4-FFF2-40B4-BE49-F238E27FC236}">
                  <a16:creationId xmlns:a16="http://schemas.microsoft.com/office/drawing/2014/main" id="{C0182676-9672-1343-BA40-3F7A37BCE571}"/>
                </a:ext>
              </a:extLst>
            </p:cNvPr>
            <p:cNvCxnSpPr/>
            <p:nvPr userDrawn="1"/>
          </p:nvCxnSpPr>
          <p:spPr>
            <a:xfrm flipH="1" flipV="1">
              <a:off x="8411737" y="3435531"/>
              <a:ext cx="1379446" cy="1751"/>
            </a:xfrm>
            <a:prstGeom prst="line">
              <a:avLst/>
            </a:prstGeom>
            <a:noFill/>
            <a:ln w="12700">
              <a:solidFill>
                <a:schemeClr val="bg1">
                  <a:alpha val="30000"/>
                </a:schemeClr>
              </a:solidFill>
            </a:ln>
            <a:effectLst/>
          </p:spPr>
        </p:cxnSp>
      </p:grpSp>
    </p:spTree>
    <p:extLst>
      <p:ext uri="{BB962C8B-B14F-4D97-AF65-F5344CB8AC3E}">
        <p14:creationId xmlns:p14="http://schemas.microsoft.com/office/powerpoint/2010/main" val="36243978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 Two Logos">
    <p:spTree>
      <p:nvGrpSpPr>
        <p:cNvPr id="1" name=""/>
        <p:cNvGrpSpPr/>
        <p:nvPr/>
      </p:nvGrpSpPr>
      <p:grpSpPr>
        <a:xfrm>
          <a:off x="0" y="0"/>
          <a:ext cx="0" cy="0"/>
          <a:chOff x="0" y="0"/>
          <a:chExt cx="0" cy="0"/>
        </a:xfrm>
        <a:effectLst/>
      </p:grpSpPr>
      <p:graphicFrame>
        <p:nvGraphicFramePr>
          <p:cNvPr id="3" name="Object 2" hidden="1"/>
          <p:cNvGraphicFramePr>
            <a:graphicFrameLocks noChangeAspect="1"/>
          </p:cNvGraphicFramePr>
          <p:nvPr userDrawn="1">
            <p:custDataLst>
              <p:tags r:id="rId2"/>
            </p:custDataLst>
          </p:nvPr>
        </p:nvGraphicFramePr>
        <p:xfrm>
          <a:off x="1510" y="1510"/>
          <a:ext cx="1507" cy="1507"/>
        </p:xfrm>
        <a:graphic>
          <a:graphicData uri="http://schemas.openxmlformats.org/presentationml/2006/ole">
            <mc:AlternateContent xmlns:mc="http://schemas.openxmlformats.org/markup-compatibility/2006">
              <mc:Choice xmlns:v="urn:schemas-microsoft-com:vml" Requires="v">
                <p:oleObj name="think-cell Slide" r:id="rId4" imgW="423" imgH="424" progId="TCLayout.ActiveDocument.1">
                  <p:embed/>
                </p:oleObj>
              </mc:Choice>
              <mc:Fallback>
                <p:oleObj name="think-cell Slide" r:id="rId4" imgW="423" imgH="424" progId="TCLayout.ActiveDocument.1">
                  <p:embed/>
                  <p:pic>
                    <p:nvPicPr>
                      <p:cNvPr id="3" name="Object 2" hidden="1"/>
                      <p:cNvPicPr/>
                      <p:nvPr/>
                    </p:nvPicPr>
                    <p:blipFill>
                      <a:blip r:embed="rId5"/>
                      <a:stretch>
                        <a:fillRect/>
                      </a:stretch>
                    </p:blipFill>
                    <p:spPr>
                      <a:xfrm>
                        <a:off x="1510" y="1510"/>
                        <a:ext cx="1507" cy="1507"/>
                      </a:xfrm>
                      <a:prstGeom prst="rect">
                        <a:avLst/>
                      </a:prstGeom>
                    </p:spPr>
                  </p:pic>
                </p:oleObj>
              </mc:Fallback>
            </mc:AlternateContent>
          </a:graphicData>
        </a:graphic>
      </p:graphicFrame>
      <p:sp>
        <p:nvSpPr>
          <p:cNvPr id="2" name="Title 1"/>
          <p:cNvSpPr>
            <a:spLocks noGrp="1"/>
          </p:cNvSpPr>
          <p:nvPr>
            <p:ph type="title"/>
          </p:nvPr>
        </p:nvSpPr>
        <p:spPr>
          <a:effectLst/>
        </p:spPr>
        <p:txBody>
          <a:bodyPr/>
          <a:lstStyle/>
          <a:p>
            <a:r>
              <a:rPr lang="en-US">
                <a:effectLst/>
              </a:rPr>
              <a:t>Click to edit Master title style</a:t>
            </a:r>
            <a:endParaRPr lang="fr-FR">
              <a:effectLst/>
            </a:endParaRPr>
          </a:p>
        </p:txBody>
      </p:sp>
      <p:pic>
        <p:nvPicPr>
          <p:cNvPr id="4" name="Picture 3">
            <a:extLst>
              <a:ext uri="{FF2B5EF4-FFF2-40B4-BE49-F238E27FC236}">
                <a16:creationId xmlns:a16="http://schemas.microsoft.com/office/drawing/2014/main" id="{E1575328-E58C-5E45-8EFA-9313990C7C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421600950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 Two Logos">
    <p:spTree>
      <p:nvGrpSpPr>
        <p:cNvPr id="1" name=""/>
        <p:cNvGrpSpPr/>
        <p:nvPr/>
      </p:nvGrpSpPr>
      <p:grpSpPr>
        <a:xfrm>
          <a:off x="0" y="0"/>
          <a:ext cx="0" cy="0"/>
          <a:chOff x="0" y="0"/>
          <a:chExt cx="0" cy="0"/>
        </a:xfrm>
        <a:effectLst/>
      </p:grpSpPr>
      <p:graphicFrame>
        <p:nvGraphicFramePr>
          <p:cNvPr id="3" name="Object 2" hidden="1"/>
          <p:cNvGraphicFramePr>
            <a:graphicFrameLocks noChangeAspect="1"/>
          </p:cNvGraphicFramePr>
          <p:nvPr userDrawn="1">
            <p:custDataLst>
              <p:tags r:id="rId2"/>
            </p:custDataLst>
          </p:nvPr>
        </p:nvGraphicFramePr>
        <p:xfrm>
          <a:off x="1510" y="1510"/>
          <a:ext cx="1507" cy="1507"/>
        </p:xfrm>
        <a:graphic>
          <a:graphicData uri="http://schemas.openxmlformats.org/presentationml/2006/ole">
            <mc:AlternateContent xmlns:mc="http://schemas.openxmlformats.org/markup-compatibility/2006">
              <mc:Choice xmlns:v="urn:schemas-microsoft-com:vml" Requires="v">
                <p:oleObj name="think-cell Slide" r:id="rId4" imgW="423" imgH="424" progId="TCLayout.ActiveDocument.1">
                  <p:embed/>
                </p:oleObj>
              </mc:Choice>
              <mc:Fallback>
                <p:oleObj name="think-cell Slide" r:id="rId4" imgW="423" imgH="424" progId="TCLayout.ActiveDocument.1">
                  <p:embed/>
                  <p:pic>
                    <p:nvPicPr>
                      <p:cNvPr id="3" name="Object 2" hidden="1"/>
                      <p:cNvPicPr/>
                      <p:nvPr/>
                    </p:nvPicPr>
                    <p:blipFill>
                      <a:blip r:embed="rId5"/>
                      <a:stretch>
                        <a:fillRect/>
                      </a:stretch>
                    </p:blipFill>
                    <p:spPr>
                      <a:xfrm>
                        <a:off x="1510" y="1510"/>
                        <a:ext cx="1507" cy="1507"/>
                      </a:xfrm>
                      <a:prstGeom prst="rect">
                        <a:avLst/>
                      </a:prstGeom>
                    </p:spPr>
                  </p:pic>
                </p:oleObj>
              </mc:Fallback>
            </mc:AlternateContent>
          </a:graphicData>
        </a:graphic>
      </p:graphicFrame>
      <p:sp>
        <p:nvSpPr>
          <p:cNvPr id="2" name="Title 1"/>
          <p:cNvSpPr>
            <a:spLocks noGrp="1"/>
          </p:cNvSpPr>
          <p:nvPr>
            <p:ph type="title"/>
          </p:nvPr>
        </p:nvSpPr>
        <p:spPr>
          <a:effectLst/>
        </p:spPr>
        <p:txBody>
          <a:bodyPr/>
          <a:lstStyle/>
          <a:p>
            <a:r>
              <a:rPr lang="en-US">
                <a:effectLst/>
              </a:rPr>
              <a:t>Click to edit Master title style</a:t>
            </a:r>
            <a:endParaRPr lang="fr-FR">
              <a:effectLst/>
            </a:endParaRPr>
          </a:p>
        </p:txBody>
      </p:sp>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3" y="831393"/>
            <a:ext cx="11406732" cy="5275585"/>
          </a:xfrm>
        </p:spPr>
        <p:txBody>
          <a:bodyPr/>
          <a:lstStyle/>
          <a:p>
            <a:pPr lvl="0"/>
            <a:r>
              <a:rPr lang="en-US"/>
              <a:t>Edit Master text styles</a:t>
            </a:r>
          </a:p>
          <a:p>
            <a:pPr lvl="1"/>
            <a:r>
              <a:rPr lang="en-US"/>
              <a:t>Second level</a:t>
            </a:r>
          </a:p>
          <a:p>
            <a:pPr lvl="2"/>
            <a:r>
              <a:rPr lang="en-US"/>
              <a:t>Third level</a:t>
            </a:r>
          </a:p>
        </p:txBody>
      </p:sp>
      <p:pic>
        <p:nvPicPr>
          <p:cNvPr id="8" name="Picture 7">
            <a:extLst>
              <a:ext uri="{FF2B5EF4-FFF2-40B4-BE49-F238E27FC236}">
                <a16:creationId xmlns:a16="http://schemas.microsoft.com/office/drawing/2014/main" id="{5601766E-48B4-D441-AFC1-1CE95AEC9F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087707" y="329908"/>
            <a:ext cx="709400" cy="342979"/>
          </a:xfrm>
          <a:prstGeom prst="rect">
            <a:avLst/>
          </a:prstGeom>
        </p:spPr>
      </p:pic>
      <p:pic>
        <p:nvPicPr>
          <p:cNvPr id="6" name="Picture 5">
            <a:extLst>
              <a:ext uri="{FF2B5EF4-FFF2-40B4-BE49-F238E27FC236}">
                <a16:creationId xmlns:a16="http://schemas.microsoft.com/office/drawing/2014/main" id="{EF1D6209-FCA3-4B2B-A94D-608D696F54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346934119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line title : 1 col - Two Logos">
    <p:spTree>
      <p:nvGrpSpPr>
        <p:cNvPr id="1" name=""/>
        <p:cNvGrpSpPr/>
        <p:nvPr/>
      </p:nvGrpSpPr>
      <p:grpSpPr>
        <a:xfrm>
          <a:off x="0" y="0"/>
          <a:ext cx="0" cy="0"/>
          <a:chOff x="0" y="0"/>
          <a:chExt cx="0" cy="0"/>
        </a:xfrm>
        <a:effectLst/>
      </p:grpSpPr>
      <p:sp>
        <p:nvSpPr>
          <p:cNvPr id="2" name="Title 1"/>
          <p:cNvSpPr>
            <a:spLocks noGrp="1"/>
          </p:cNvSpPr>
          <p:nvPr>
            <p:ph type="title" hasCustomPrompt="1"/>
          </p:nvPr>
        </p:nvSpPr>
        <p:spPr>
          <a:xfrm>
            <a:off x="390675" y="329907"/>
            <a:ext cx="11234420" cy="996145"/>
          </a:xfrm>
          <a:effectLst/>
        </p:spPr>
        <p:txBody>
          <a:bodyPr/>
          <a:lstStyle>
            <a:lvl1pPr>
              <a:defRPr/>
            </a:lvl1pPr>
          </a:lstStyle>
          <a:p>
            <a:r>
              <a:rPr lang="en-US">
                <a:effectLst/>
              </a:rPr>
              <a:t>Titles that are titles that are two lines long two lines long titles that are two lines long titles that are two lines long</a:t>
            </a:r>
            <a:endParaRPr lang="fr-FR">
              <a:effectLst/>
            </a:endParaRPr>
          </a:p>
        </p:txBody>
      </p:sp>
      <p:sp>
        <p:nvSpPr>
          <p:cNvPr id="5" name="Text Placeholder 4">
            <a:extLst>
              <a:ext uri="{FF2B5EF4-FFF2-40B4-BE49-F238E27FC236}">
                <a16:creationId xmlns:a16="http://schemas.microsoft.com/office/drawing/2014/main" id="{83F30092-8BF6-D349-A4E1-891101E29C37}"/>
              </a:ext>
            </a:extLst>
          </p:cNvPr>
          <p:cNvSpPr>
            <a:spLocks noGrp="1"/>
          </p:cNvSpPr>
          <p:nvPr>
            <p:ph type="body" sz="quarter" idx="10"/>
          </p:nvPr>
        </p:nvSpPr>
        <p:spPr>
          <a:xfrm>
            <a:off x="390373" y="1326054"/>
            <a:ext cx="11406732" cy="4804709"/>
          </a:xfrm>
        </p:spPr>
        <p:txBody>
          <a:bodyPr/>
          <a:lstStyle/>
          <a:p>
            <a:pPr lvl="0"/>
            <a:r>
              <a:rPr lang="en-US"/>
              <a:t>Edit Master text styles</a:t>
            </a:r>
          </a:p>
          <a:p>
            <a:pPr lvl="1"/>
            <a:r>
              <a:rPr lang="en-US"/>
              <a:t>Second level</a:t>
            </a:r>
          </a:p>
          <a:p>
            <a:pPr lvl="2"/>
            <a:r>
              <a:rPr lang="en-US"/>
              <a:t>Third level</a:t>
            </a:r>
          </a:p>
        </p:txBody>
      </p:sp>
      <p:pic>
        <p:nvPicPr>
          <p:cNvPr id="8" name="Picture 7">
            <a:extLst>
              <a:ext uri="{FF2B5EF4-FFF2-40B4-BE49-F238E27FC236}">
                <a16:creationId xmlns:a16="http://schemas.microsoft.com/office/drawing/2014/main" id="{7D40C338-00A1-E043-AABB-CE40B1AAE5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676" y="6281799"/>
            <a:ext cx="709400" cy="342979"/>
          </a:xfrm>
          <a:prstGeom prst="rect">
            <a:avLst/>
          </a:prstGeom>
        </p:spPr>
      </p:pic>
    </p:spTree>
    <p:custDataLst>
      <p:tags r:id="rId1"/>
    </p:custDataLst>
    <p:extLst>
      <p:ext uri="{BB962C8B-B14F-4D97-AF65-F5344CB8AC3E}">
        <p14:creationId xmlns:p14="http://schemas.microsoft.com/office/powerpoint/2010/main" val="1641522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2.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oleObject" Target="../embeddings/oleObject4.bin"/><Relationship Id="rId5" Type="http://schemas.openxmlformats.org/officeDocument/2006/relationships/tags" Target="../tags/tag17.xml"/><Relationship Id="rId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a:effectLst/>
      </p:grpSpPr>
      <p:graphicFrame>
        <p:nvGraphicFramePr>
          <p:cNvPr id="2" name="Object 1" hidden="1"/>
          <p:cNvGraphicFramePr>
            <a:graphicFrameLocks noChangeAspect="1"/>
          </p:cNvGraphicFramePr>
          <p:nvPr userDrawn="1">
            <p:custDataLst>
              <p:tags r:id="rId22"/>
            </p:custDataLst>
          </p:nvPr>
        </p:nvGraphicFramePr>
        <p:xfrm>
          <a:off x="1510" y="1510"/>
          <a:ext cx="1507" cy="1507"/>
        </p:xfrm>
        <a:graphic>
          <a:graphicData uri="http://schemas.openxmlformats.org/presentationml/2006/ole">
            <mc:AlternateContent xmlns:mc="http://schemas.openxmlformats.org/markup-compatibility/2006">
              <mc:Choice xmlns:v="urn:schemas-microsoft-com:vml" Requires="v">
                <p:oleObj name="think-cell Slide" r:id="rId24" imgW="423" imgH="424" progId="TCLayout.ActiveDocument.1">
                  <p:embed/>
                </p:oleObj>
              </mc:Choice>
              <mc:Fallback>
                <p:oleObj name="think-cell Slide" r:id="rId24" imgW="423" imgH="424" progId="TCLayout.ActiveDocument.1">
                  <p:embed/>
                  <p:pic>
                    <p:nvPicPr>
                      <p:cNvPr id="2" name="Object 1" hidden="1"/>
                      <p:cNvPicPr/>
                      <p:nvPr/>
                    </p:nvPicPr>
                    <p:blipFill>
                      <a:blip r:embed="rId25"/>
                      <a:stretch>
                        <a:fillRect/>
                      </a:stretch>
                    </p:blipFill>
                    <p:spPr>
                      <a:xfrm>
                        <a:off x="1510" y="1510"/>
                        <a:ext cx="1507" cy="1507"/>
                      </a:xfrm>
                      <a:prstGeom prst="rect">
                        <a:avLst/>
                      </a:prstGeom>
                    </p:spPr>
                  </p:pic>
                </p:oleObj>
              </mc:Fallback>
            </mc:AlternateContent>
          </a:graphicData>
        </a:graphic>
      </p:graphicFrame>
      <p:grpSp>
        <p:nvGrpSpPr>
          <p:cNvPr id="12" name="Shape 8">
            <a:extLst>
              <a:ext uri="{FF2B5EF4-FFF2-40B4-BE49-F238E27FC236}">
                <a16:creationId xmlns:a16="http://schemas.microsoft.com/office/drawing/2014/main" id="{DD825378-454D-DA49-A166-2A7028988423}"/>
              </a:ext>
            </a:extLst>
          </p:cNvPr>
          <p:cNvGrpSpPr/>
          <p:nvPr userDrawn="1"/>
        </p:nvGrpSpPr>
        <p:grpSpPr>
          <a:xfrm>
            <a:off x="390676" y="329910"/>
            <a:ext cx="11407128" cy="6052754"/>
            <a:chOff x="5921004" y="-327265"/>
            <a:chExt cx="6468255" cy="6993762"/>
          </a:xfrm>
        </p:grpSpPr>
        <p:grpSp>
          <p:nvGrpSpPr>
            <p:cNvPr id="13" name="Shape 9">
              <a:extLst>
                <a:ext uri="{FF2B5EF4-FFF2-40B4-BE49-F238E27FC236}">
                  <a16:creationId xmlns:a16="http://schemas.microsoft.com/office/drawing/2014/main" id="{978B0E9D-DC3E-DA4D-8DF4-967C18B1FD4C}"/>
                </a:ext>
              </a:extLst>
            </p:cNvPr>
            <p:cNvGrpSpPr/>
            <p:nvPr/>
          </p:nvGrpSpPr>
          <p:grpSpPr>
            <a:xfrm>
              <a:off x="5926388" y="-327264"/>
              <a:ext cx="6462871" cy="6993761"/>
              <a:chOff x="0" y="475487"/>
              <a:chExt cx="10058400" cy="6458415"/>
            </a:xfrm>
          </p:grpSpPr>
          <p:cxnSp>
            <p:nvCxnSpPr>
              <p:cNvPr id="29" name="Shape 10">
                <a:extLst>
                  <a:ext uri="{FF2B5EF4-FFF2-40B4-BE49-F238E27FC236}">
                    <a16:creationId xmlns:a16="http://schemas.microsoft.com/office/drawing/2014/main" id="{78E628F7-2286-6440-8160-E97A1BFE1643}"/>
                  </a:ext>
                </a:extLst>
              </p:cNvPr>
              <p:cNvCxnSpPr/>
              <p:nvPr/>
            </p:nvCxnSpPr>
            <p:spPr>
              <a:xfrm>
                <a:off x="0" y="47548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0" name="Shape 11">
                <a:extLst>
                  <a:ext uri="{FF2B5EF4-FFF2-40B4-BE49-F238E27FC236}">
                    <a16:creationId xmlns:a16="http://schemas.microsoft.com/office/drawing/2014/main" id="{E9E52D0A-65A2-DD42-9DA7-B36BE7E708C8}"/>
                  </a:ext>
                </a:extLst>
              </p:cNvPr>
              <p:cNvCxnSpPr/>
              <p:nvPr/>
            </p:nvCxnSpPr>
            <p:spPr>
              <a:xfrm>
                <a:off x="0" y="101369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1" name="Shape 12">
                <a:extLst>
                  <a:ext uri="{FF2B5EF4-FFF2-40B4-BE49-F238E27FC236}">
                    <a16:creationId xmlns:a16="http://schemas.microsoft.com/office/drawing/2014/main" id="{CEA621E7-89A0-DD45-A2ED-5C411438DE7C}"/>
                  </a:ext>
                </a:extLst>
              </p:cNvPr>
              <p:cNvCxnSpPr/>
              <p:nvPr/>
            </p:nvCxnSpPr>
            <p:spPr>
              <a:xfrm>
                <a:off x="0" y="15518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2" name="Shape 13">
                <a:extLst>
                  <a:ext uri="{FF2B5EF4-FFF2-40B4-BE49-F238E27FC236}">
                    <a16:creationId xmlns:a16="http://schemas.microsoft.com/office/drawing/2014/main" id="{B0C73D52-E271-384D-99B1-D40EC80BC973}"/>
                  </a:ext>
                </a:extLst>
              </p:cNvPr>
              <p:cNvCxnSpPr/>
              <p:nvPr/>
            </p:nvCxnSpPr>
            <p:spPr>
              <a:xfrm>
                <a:off x="0" y="18209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3" name="Shape 14">
                <a:extLst>
                  <a:ext uri="{FF2B5EF4-FFF2-40B4-BE49-F238E27FC236}">
                    <a16:creationId xmlns:a16="http://schemas.microsoft.com/office/drawing/2014/main" id="{375BC64D-325E-6D4B-B884-CF734E697CFC}"/>
                  </a:ext>
                </a:extLst>
              </p:cNvPr>
              <p:cNvCxnSpPr/>
              <p:nvPr/>
            </p:nvCxnSpPr>
            <p:spPr>
              <a:xfrm>
                <a:off x="0" y="20900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4" name="Shape 15">
                <a:extLst>
                  <a:ext uri="{FF2B5EF4-FFF2-40B4-BE49-F238E27FC236}">
                    <a16:creationId xmlns:a16="http://schemas.microsoft.com/office/drawing/2014/main" id="{15446D9F-1DE8-FE40-85A8-8B40F11D939B}"/>
                  </a:ext>
                </a:extLst>
              </p:cNvPr>
              <p:cNvCxnSpPr/>
              <p:nvPr/>
            </p:nvCxnSpPr>
            <p:spPr>
              <a:xfrm>
                <a:off x="0" y="23591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5" name="Shape 16">
                <a:extLst>
                  <a:ext uri="{FF2B5EF4-FFF2-40B4-BE49-F238E27FC236}">
                    <a16:creationId xmlns:a16="http://schemas.microsoft.com/office/drawing/2014/main" id="{59F659C3-28EA-8F4B-A464-25F84BF919BD}"/>
                  </a:ext>
                </a:extLst>
              </p:cNvPr>
              <p:cNvCxnSpPr/>
              <p:nvPr/>
            </p:nvCxnSpPr>
            <p:spPr>
              <a:xfrm>
                <a:off x="0" y="2628296"/>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6" name="Shape 17">
                <a:extLst>
                  <a:ext uri="{FF2B5EF4-FFF2-40B4-BE49-F238E27FC236}">
                    <a16:creationId xmlns:a16="http://schemas.microsoft.com/office/drawing/2014/main" id="{2E3FDA7C-D41C-8C4E-8CEC-2DF5F5B22C09}"/>
                  </a:ext>
                </a:extLst>
              </p:cNvPr>
              <p:cNvCxnSpPr/>
              <p:nvPr/>
            </p:nvCxnSpPr>
            <p:spPr>
              <a:xfrm>
                <a:off x="0" y="289739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7" name="Shape 18">
                <a:extLst>
                  <a:ext uri="{FF2B5EF4-FFF2-40B4-BE49-F238E27FC236}">
                    <a16:creationId xmlns:a16="http://schemas.microsoft.com/office/drawing/2014/main" id="{36AC2B17-FCDF-AD43-9D5F-228B93990517}"/>
                  </a:ext>
                </a:extLst>
              </p:cNvPr>
              <p:cNvCxnSpPr/>
              <p:nvPr/>
            </p:nvCxnSpPr>
            <p:spPr>
              <a:xfrm>
                <a:off x="0" y="3166498"/>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8" name="Shape 19">
                <a:extLst>
                  <a:ext uri="{FF2B5EF4-FFF2-40B4-BE49-F238E27FC236}">
                    <a16:creationId xmlns:a16="http://schemas.microsoft.com/office/drawing/2014/main" id="{13DB302F-6590-E944-8AC8-5D4574EF817B}"/>
                  </a:ext>
                </a:extLst>
              </p:cNvPr>
              <p:cNvCxnSpPr/>
              <p:nvPr/>
            </p:nvCxnSpPr>
            <p:spPr>
              <a:xfrm>
                <a:off x="0" y="3435598"/>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9" name="Shape 20">
                <a:extLst>
                  <a:ext uri="{FF2B5EF4-FFF2-40B4-BE49-F238E27FC236}">
                    <a16:creationId xmlns:a16="http://schemas.microsoft.com/office/drawing/2014/main" id="{CAC6290A-7F43-1B4E-A5E5-E344EF48451B}"/>
                  </a:ext>
                </a:extLst>
              </p:cNvPr>
              <p:cNvCxnSpPr/>
              <p:nvPr/>
            </p:nvCxnSpPr>
            <p:spPr>
              <a:xfrm>
                <a:off x="0" y="370470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0" name="Shape 21">
                <a:extLst>
                  <a:ext uri="{FF2B5EF4-FFF2-40B4-BE49-F238E27FC236}">
                    <a16:creationId xmlns:a16="http://schemas.microsoft.com/office/drawing/2014/main" id="{F2E526A6-4E85-AD45-A5D4-4FBF4685051E}"/>
                  </a:ext>
                </a:extLst>
              </p:cNvPr>
              <p:cNvCxnSpPr/>
              <p:nvPr/>
            </p:nvCxnSpPr>
            <p:spPr>
              <a:xfrm>
                <a:off x="0" y="397380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1" name="Shape 22">
                <a:extLst>
                  <a:ext uri="{FF2B5EF4-FFF2-40B4-BE49-F238E27FC236}">
                    <a16:creationId xmlns:a16="http://schemas.microsoft.com/office/drawing/2014/main" id="{EE0B7531-1224-9647-AD28-6549A8316A74}"/>
                  </a:ext>
                </a:extLst>
              </p:cNvPr>
              <p:cNvCxnSpPr/>
              <p:nvPr/>
            </p:nvCxnSpPr>
            <p:spPr>
              <a:xfrm>
                <a:off x="0" y="424290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2" name="Shape 23">
                <a:extLst>
                  <a:ext uri="{FF2B5EF4-FFF2-40B4-BE49-F238E27FC236}">
                    <a16:creationId xmlns:a16="http://schemas.microsoft.com/office/drawing/2014/main" id="{E4AF07B8-65FF-5345-AFFA-15B9FBF48225}"/>
                  </a:ext>
                </a:extLst>
              </p:cNvPr>
              <p:cNvCxnSpPr/>
              <p:nvPr/>
            </p:nvCxnSpPr>
            <p:spPr>
              <a:xfrm>
                <a:off x="0" y="4512003"/>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3" name="Shape 24">
                <a:extLst>
                  <a:ext uri="{FF2B5EF4-FFF2-40B4-BE49-F238E27FC236}">
                    <a16:creationId xmlns:a16="http://schemas.microsoft.com/office/drawing/2014/main" id="{1F7154A0-A532-3547-83C4-45A875A2590C}"/>
                  </a:ext>
                </a:extLst>
              </p:cNvPr>
              <p:cNvCxnSpPr/>
              <p:nvPr/>
            </p:nvCxnSpPr>
            <p:spPr>
              <a:xfrm>
                <a:off x="0" y="4781103"/>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4" name="Shape 25">
                <a:extLst>
                  <a:ext uri="{FF2B5EF4-FFF2-40B4-BE49-F238E27FC236}">
                    <a16:creationId xmlns:a16="http://schemas.microsoft.com/office/drawing/2014/main" id="{30F3C4B8-C3D2-E140-B2C0-ACEFBA654104}"/>
                  </a:ext>
                </a:extLst>
              </p:cNvPr>
              <p:cNvCxnSpPr/>
              <p:nvPr/>
            </p:nvCxnSpPr>
            <p:spPr>
              <a:xfrm>
                <a:off x="0" y="5050205"/>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5" name="Shape 26">
                <a:extLst>
                  <a:ext uri="{FF2B5EF4-FFF2-40B4-BE49-F238E27FC236}">
                    <a16:creationId xmlns:a16="http://schemas.microsoft.com/office/drawing/2014/main" id="{2EC82DFD-2EDE-DC42-912C-E4A3692B7E43}"/>
                  </a:ext>
                </a:extLst>
              </p:cNvPr>
              <p:cNvCxnSpPr/>
              <p:nvPr/>
            </p:nvCxnSpPr>
            <p:spPr>
              <a:xfrm>
                <a:off x="0" y="5319305"/>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6" name="Shape 27">
                <a:extLst>
                  <a:ext uri="{FF2B5EF4-FFF2-40B4-BE49-F238E27FC236}">
                    <a16:creationId xmlns:a16="http://schemas.microsoft.com/office/drawing/2014/main" id="{95626F77-E77D-4B41-8584-38229D18C3F2}"/>
                  </a:ext>
                </a:extLst>
              </p:cNvPr>
              <p:cNvCxnSpPr/>
              <p:nvPr/>
            </p:nvCxnSpPr>
            <p:spPr>
              <a:xfrm>
                <a:off x="0" y="558840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7" name="Shape 28">
                <a:extLst>
                  <a:ext uri="{FF2B5EF4-FFF2-40B4-BE49-F238E27FC236}">
                    <a16:creationId xmlns:a16="http://schemas.microsoft.com/office/drawing/2014/main" id="{54479E39-FC9B-DB45-8D15-762767D9FE4F}"/>
                  </a:ext>
                </a:extLst>
              </p:cNvPr>
              <p:cNvCxnSpPr/>
              <p:nvPr/>
            </p:nvCxnSpPr>
            <p:spPr>
              <a:xfrm>
                <a:off x="0" y="585750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8" name="Shape 29">
                <a:extLst>
                  <a:ext uri="{FF2B5EF4-FFF2-40B4-BE49-F238E27FC236}">
                    <a16:creationId xmlns:a16="http://schemas.microsoft.com/office/drawing/2014/main" id="{0537F3CB-1370-E448-B2B4-16BDAECE8A92}"/>
                  </a:ext>
                </a:extLst>
              </p:cNvPr>
              <p:cNvCxnSpPr/>
              <p:nvPr/>
            </p:nvCxnSpPr>
            <p:spPr>
              <a:xfrm>
                <a:off x="0" y="612660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9" name="Shape 30">
                <a:extLst>
                  <a:ext uri="{FF2B5EF4-FFF2-40B4-BE49-F238E27FC236}">
                    <a16:creationId xmlns:a16="http://schemas.microsoft.com/office/drawing/2014/main" id="{C167995E-D01D-3A4D-8F1E-018440F56077}"/>
                  </a:ext>
                </a:extLst>
              </p:cNvPr>
              <p:cNvCxnSpPr/>
              <p:nvPr/>
            </p:nvCxnSpPr>
            <p:spPr>
              <a:xfrm>
                <a:off x="0" y="639571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0" name="Shape 31">
                <a:extLst>
                  <a:ext uri="{FF2B5EF4-FFF2-40B4-BE49-F238E27FC236}">
                    <a16:creationId xmlns:a16="http://schemas.microsoft.com/office/drawing/2014/main" id="{24431967-D0FA-B546-83FF-EA9E8DE1F841}"/>
                  </a:ext>
                </a:extLst>
              </p:cNvPr>
              <p:cNvCxnSpPr/>
              <p:nvPr/>
            </p:nvCxnSpPr>
            <p:spPr>
              <a:xfrm>
                <a:off x="0" y="666481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1" name="Shape 32">
                <a:extLst>
                  <a:ext uri="{FF2B5EF4-FFF2-40B4-BE49-F238E27FC236}">
                    <a16:creationId xmlns:a16="http://schemas.microsoft.com/office/drawing/2014/main" id="{5304868F-E9E2-1C4F-827E-34FCF9D1F7EA}"/>
                  </a:ext>
                </a:extLst>
              </p:cNvPr>
              <p:cNvCxnSpPr/>
              <p:nvPr/>
            </p:nvCxnSpPr>
            <p:spPr>
              <a:xfrm>
                <a:off x="0" y="6933902"/>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2" name="Shape 33">
                <a:extLst>
                  <a:ext uri="{FF2B5EF4-FFF2-40B4-BE49-F238E27FC236}">
                    <a16:creationId xmlns:a16="http://schemas.microsoft.com/office/drawing/2014/main" id="{B999333C-68A1-EE42-8398-03125FA79850}"/>
                  </a:ext>
                </a:extLst>
              </p:cNvPr>
              <p:cNvCxnSpPr/>
              <p:nvPr/>
            </p:nvCxnSpPr>
            <p:spPr>
              <a:xfrm>
                <a:off x="0" y="744589"/>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3" name="Shape 34">
                <a:extLst>
                  <a:ext uri="{FF2B5EF4-FFF2-40B4-BE49-F238E27FC236}">
                    <a16:creationId xmlns:a16="http://schemas.microsoft.com/office/drawing/2014/main" id="{E577B0A8-3326-734A-9949-744BE47BC7F4}"/>
                  </a:ext>
                </a:extLst>
              </p:cNvPr>
              <p:cNvCxnSpPr/>
              <p:nvPr/>
            </p:nvCxnSpPr>
            <p:spPr>
              <a:xfrm>
                <a:off x="0" y="1282791"/>
                <a:ext cx="10058400" cy="0"/>
              </a:xfrm>
              <a:prstGeom prst="straightConnector1">
                <a:avLst/>
              </a:prstGeom>
              <a:noFill/>
              <a:ln w="9525" cap="flat" cmpd="sng">
                <a:solidFill>
                  <a:srgbClr val="00B0F0">
                    <a:alpha val="0"/>
                  </a:srgbClr>
                </a:solidFill>
                <a:prstDash val="solid"/>
                <a:round/>
                <a:headEnd type="none" w="med" len="med"/>
                <a:tailEnd type="none" w="med" len="med"/>
              </a:ln>
            </p:spPr>
          </p:cxnSp>
        </p:grpSp>
        <p:grpSp>
          <p:nvGrpSpPr>
            <p:cNvPr id="14" name="Shape 35">
              <a:extLst>
                <a:ext uri="{FF2B5EF4-FFF2-40B4-BE49-F238E27FC236}">
                  <a16:creationId xmlns:a16="http://schemas.microsoft.com/office/drawing/2014/main" id="{AF1A6B4D-1D1B-844E-BDD6-DE781ECA4269}"/>
                </a:ext>
              </a:extLst>
            </p:cNvPr>
            <p:cNvGrpSpPr/>
            <p:nvPr/>
          </p:nvGrpSpPr>
          <p:grpSpPr>
            <a:xfrm>
              <a:off x="5921004" y="-327265"/>
              <a:ext cx="6468255" cy="6990393"/>
              <a:chOff x="464135" y="307296"/>
              <a:chExt cx="6383634" cy="6702365"/>
            </a:xfrm>
          </p:grpSpPr>
          <p:sp>
            <p:nvSpPr>
              <p:cNvPr id="16" name="Shape 36">
                <a:extLst>
                  <a:ext uri="{FF2B5EF4-FFF2-40B4-BE49-F238E27FC236}">
                    <a16:creationId xmlns:a16="http://schemas.microsoft.com/office/drawing/2014/main" id="{0A68E546-90FA-FD44-BD63-72A453E01E0B}"/>
                  </a:ext>
                </a:extLst>
              </p:cNvPr>
              <p:cNvSpPr/>
              <p:nvPr/>
            </p:nvSpPr>
            <p:spPr>
              <a:xfrm>
                <a:off x="3194277"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17" name="Shape 37">
                <a:extLst>
                  <a:ext uri="{FF2B5EF4-FFF2-40B4-BE49-F238E27FC236}">
                    <a16:creationId xmlns:a16="http://schemas.microsoft.com/office/drawing/2014/main" id="{01924766-D83E-D345-B5FD-022FFE0B1452}"/>
                  </a:ext>
                </a:extLst>
              </p:cNvPr>
              <p:cNvSpPr/>
              <p:nvPr/>
            </p:nvSpPr>
            <p:spPr>
              <a:xfrm>
                <a:off x="2648246"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18" name="Shape 38">
                <a:extLst>
                  <a:ext uri="{FF2B5EF4-FFF2-40B4-BE49-F238E27FC236}">
                    <a16:creationId xmlns:a16="http://schemas.microsoft.com/office/drawing/2014/main" id="{1561B5FC-B824-F64F-A21E-5BFCA7B92781}"/>
                  </a:ext>
                </a:extLst>
              </p:cNvPr>
              <p:cNvSpPr/>
              <p:nvPr/>
            </p:nvSpPr>
            <p:spPr>
              <a:xfrm>
                <a:off x="2102220"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19" name="Shape 39">
                <a:extLst>
                  <a:ext uri="{FF2B5EF4-FFF2-40B4-BE49-F238E27FC236}">
                    <a16:creationId xmlns:a16="http://schemas.microsoft.com/office/drawing/2014/main" id="{3DC60DA4-CE3F-F247-9923-50E1197D816B}"/>
                  </a:ext>
                </a:extLst>
              </p:cNvPr>
              <p:cNvSpPr/>
              <p:nvPr/>
            </p:nvSpPr>
            <p:spPr>
              <a:xfrm>
                <a:off x="1556191"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0" name="Shape 40">
                <a:extLst>
                  <a:ext uri="{FF2B5EF4-FFF2-40B4-BE49-F238E27FC236}">
                    <a16:creationId xmlns:a16="http://schemas.microsoft.com/office/drawing/2014/main" id="{199C1C45-84A0-9742-BFFF-A3A8025EA55B}"/>
                  </a:ext>
                </a:extLst>
              </p:cNvPr>
              <p:cNvSpPr/>
              <p:nvPr/>
            </p:nvSpPr>
            <p:spPr>
              <a:xfrm>
                <a:off x="464135"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1" name="Shape 41">
                <a:extLst>
                  <a:ext uri="{FF2B5EF4-FFF2-40B4-BE49-F238E27FC236}">
                    <a16:creationId xmlns:a16="http://schemas.microsoft.com/office/drawing/2014/main" id="{4D97E9AC-98D6-A94E-9CC8-58AD93463789}"/>
                  </a:ext>
                </a:extLst>
              </p:cNvPr>
              <p:cNvSpPr/>
              <p:nvPr/>
            </p:nvSpPr>
            <p:spPr>
              <a:xfrm>
                <a:off x="1010162"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3" name="Shape 42">
                <a:extLst>
                  <a:ext uri="{FF2B5EF4-FFF2-40B4-BE49-F238E27FC236}">
                    <a16:creationId xmlns:a16="http://schemas.microsoft.com/office/drawing/2014/main" id="{D44E5E02-E7D8-EA40-BAEA-740195EB8CC3}"/>
                  </a:ext>
                </a:extLst>
              </p:cNvPr>
              <p:cNvSpPr/>
              <p:nvPr/>
            </p:nvSpPr>
            <p:spPr>
              <a:xfrm>
                <a:off x="6470448"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4" name="Shape 43">
                <a:extLst>
                  <a:ext uri="{FF2B5EF4-FFF2-40B4-BE49-F238E27FC236}">
                    <a16:creationId xmlns:a16="http://schemas.microsoft.com/office/drawing/2014/main" id="{A45FF199-3326-DB46-B423-0F3AA2078A64}"/>
                  </a:ext>
                </a:extLst>
              </p:cNvPr>
              <p:cNvSpPr/>
              <p:nvPr/>
            </p:nvSpPr>
            <p:spPr>
              <a:xfrm>
                <a:off x="5924417"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5" name="Shape 44">
                <a:extLst>
                  <a:ext uri="{FF2B5EF4-FFF2-40B4-BE49-F238E27FC236}">
                    <a16:creationId xmlns:a16="http://schemas.microsoft.com/office/drawing/2014/main" id="{32D914E8-8CED-FF46-BB58-9E592448C153}"/>
                  </a:ext>
                </a:extLst>
              </p:cNvPr>
              <p:cNvSpPr/>
              <p:nvPr/>
            </p:nvSpPr>
            <p:spPr>
              <a:xfrm>
                <a:off x="5378390"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6" name="Shape 45">
                <a:extLst>
                  <a:ext uri="{FF2B5EF4-FFF2-40B4-BE49-F238E27FC236}">
                    <a16:creationId xmlns:a16="http://schemas.microsoft.com/office/drawing/2014/main" id="{C9E66333-7FDF-6A40-A3B6-8B5C1A68161F}"/>
                  </a:ext>
                </a:extLst>
              </p:cNvPr>
              <p:cNvSpPr/>
              <p:nvPr/>
            </p:nvSpPr>
            <p:spPr>
              <a:xfrm>
                <a:off x="4832362"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7" name="Shape 46">
                <a:extLst>
                  <a:ext uri="{FF2B5EF4-FFF2-40B4-BE49-F238E27FC236}">
                    <a16:creationId xmlns:a16="http://schemas.microsoft.com/office/drawing/2014/main" id="{BA1A602D-CA49-9F43-A389-B5CD9D3C30F4}"/>
                  </a:ext>
                </a:extLst>
              </p:cNvPr>
              <p:cNvSpPr/>
              <p:nvPr/>
            </p:nvSpPr>
            <p:spPr>
              <a:xfrm>
                <a:off x="3740304"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sp>
            <p:nvSpPr>
              <p:cNvPr id="28" name="Shape 47">
                <a:extLst>
                  <a:ext uri="{FF2B5EF4-FFF2-40B4-BE49-F238E27FC236}">
                    <a16:creationId xmlns:a16="http://schemas.microsoft.com/office/drawing/2014/main" id="{4F632585-CA90-6F45-8616-5706F5FAFC03}"/>
                  </a:ext>
                </a:extLst>
              </p:cNvPr>
              <p:cNvSpPr/>
              <p:nvPr/>
            </p:nvSpPr>
            <p:spPr>
              <a:xfrm>
                <a:off x="4286332"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a:solidFill>
                    <a:schemeClr val="lt1"/>
                  </a:solidFill>
                  <a:latin typeface="Georgia"/>
                  <a:ea typeface="Georgia"/>
                  <a:cs typeface="Georgia"/>
                  <a:sym typeface="Georgia"/>
                </a:endParaRPr>
              </a:p>
            </p:txBody>
          </p:sp>
        </p:grpSp>
      </p:grpSp>
      <p:sp>
        <p:nvSpPr>
          <p:cNvPr id="22" name="Slide title"/>
          <p:cNvSpPr>
            <a:spLocks noGrp="1" noChangeArrowheads="1"/>
          </p:cNvSpPr>
          <p:nvPr>
            <p:ph type="title"/>
          </p:nvPr>
        </p:nvSpPr>
        <p:spPr>
          <a:xfrm>
            <a:off x="390676" y="329907"/>
            <a:ext cx="11335508" cy="501483"/>
          </a:xfrm>
          <a:prstGeom prst="rect">
            <a:avLst/>
          </a:prstGeom>
          <a:noFill/>
          <a:ln w="9525">
            <a:noFill/>
            <a:miter lim="800000"/>
          </a:ln>
          <a:effectLst/>
        </p:spPr>
        <p:txBody>
          <a:bodyPr vert="horz" wrap="square" lIns="91440" tIns="45720" rIns="91440" bIns="45720" anchor="t" anchorCtr="0" compatLnSpc="1">
            <a:prstTxWarp prst="textNoShape">
              <a:avLst/>
            </a:prstTxWarp>
          </a:bodyPr>
          <a:lstStyle/>
          <a:p>
            <a:pPr lvl="0"/>
            <a:endParaRPr lang="en-CA" noProof="1">
              <a:effectLst/>
            </a:endParaRPr>
          </a:p>
        </p:txBody>
      </p:sp>
      <p:sp>
        <p:nvSpPr>
          <p:cNvPr id="11" name="Text Placeholder 10"/>
          <p:cNvSpPr>
            <a:spLocks noGrp="1"/>
          </p:cNvSpPr>
          <p:nvPr>
            <p:ph type="body" idx="1"/>
            <p:custDataLst>
              <p:tags r:id="rId23"/>
            </p:custDataLst>
          </p:nvPr>
        </p:nvSpPr>
        <p:spPr>
          <a:xfrm>
            <a:off x="390673" y="831393"/>
            <a:ext cx="11407129" cy="5551271"/>
          </a:xfrm>
          <a:prstGeom prst="rect">
            <a:avLst/>
          </a:prstGeom>
          <a:effectLst/>
        </p:spPr>
        <p:txBody>
          <a:bodyPr vert="horz" lIns="91440" tIns="45720" rIns="91440" bIns="45720" rtlCol="0" anchor="t" anchorCtr="0">
            <a:normAutofit/>
          </a:bodyPr>
          <a:lstStyle/>
          <a:p>
            <a:pPr lvl="0"/>
            <a:r>
              <a:rPr lang="en-US">
                <a:effectLst/>
              </a:rPr>
              <a:t>Click to edit Master text styles</a:t>
            </a:r>
          </a:p>
          <a:p>
            <a:pPr lvl="1"/>
            <a:r>
              <a:rPr lang="en-US">
                <a:effectLst/>
              </a:rPr>
              <a:t>Second level</a:t>
            </a:r>
          </a:p>
          <a:p>
            <a:pPr lvl="2"/>
            <a:r>
              <a:rPr lang="en-US">
                <a:effectLst/>
              </a:rPr>
              <a:t>Third level</a:t>
            </a:r>
          </a:p>
        </p:txBody>
      </p:sp>
      <p:sp>
        <p:nvSpPr>
          <p:cNvPr id="15" name="SlideNumber"/>
          <p:cNvSpPr/>
          <p:nvPr/>
        </p:nvSpPr>
        <p:spPr>
          <a:xfrm>
            <a:off x="11544611" y="6458042"/>
            <a:ext cx="255123" cy="18298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760" b="1" baseline="0" smtClean="0">
                <a:solidFill>
                  <a:schemeClr val="accent2"/>
                </a:solidFill>
                <a:effectLst/>
                <a:latin typeface="+mn-lt"/>
              </a:rPr>
              <a:pPr algn="r"/>
              <a:t>‹#›</a:t>
            </a:fld>
            <a:endParaRPr lang="fr-FR" sz="760" b="1">
              <a:solidFill>
                <a:schemeClr val="accent2"/>
              </a:solidFill>
              <a:effectLst/>
              <a:latin typeface="+mn-lt"/>
            </a:endParaRPr>
          </a:p>
        </p:txBody>
      </p:sp>
      <p:sp>
        <p:nvSpPr>
          <p:cNvPr id="9" name="BainStatusStickerPosition" hidden="1"/>
          <p:cNvSpPr/>
          <p:nvPr/>
        </p:nvSpPr>
        <p:spPr>
          <a:xfrm>
            <a:off x="11797803" y="1430107"/>
            <a:ext cx="120579" cy="120580"/>
          </a:xfrm>
          <a:prstGeom prst="rect">
            <a:avLst/>
          </a:prstGeom>
          <a:solidFill>
            <a:schemeClr val="tx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r>
              <a:rPr lang="en-US" sz="1709">
                <a:solidFill>
                  <a:srgbClr val="000000"/>
                </a:solidFill>
                <a:effectLst/>
              </a:rPr>
              <a:t> </a:t>
            </a:r>
          </a:p>
        </p:txBody>
      </p:sp>
      <p:sp>
        <p:nvSpPr>
          <p:cNvPr id="10" name="BainArrowConfig" hidden="1"/>
          <p:cNvSpPr/>
          <p:nvPr/>
        </p:nvSpPr>
        <p:spPr>
          <a:xfrm>
            <a:off x="2" y="5004079"/>
            <a:ext cx="120579" cy="120580"/>
          </a:xfrm>
          <a:prstGeom prst="rect">
            <a:avLst/>
          </a:prstGeom>
          <a:solidFill>
            <a:srgbClr val="F40009"/>
          </a:solidFill>
          <a:ln w="12700">
            <a:solidFill>
              <a:srgbClr val="F4000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r>
              <a:rPr lang="en-US" sz="1709">
                <a:solidFill>
                  <a:srgbClr val="FFFFFF"/>
                </a:solidFill>
                <a:effectLst/>
              </a:rPr>
              <a:t> </a:t>
            </a:r>
          </a:p>
        </p:txBody>
      </p:sp>
      <p:sp>
        <p:nvSpPr>
          <p:cNvPr id="3" name="MSIPCMContentMarking" descr="{&quot;HashCode&quot;:427984535,&quot;Placement&quot;:&quot;Footer&quot;}">
            <a:extLst>
              <a:ext uri="{FF2B5EF4-FFF2-40B4-BE49-F238E27FC236}">
                <a16:creationId xmlns:a16="http://schemas.microsoft.com/office/drawing/2014/main" id="{ABB38B61-4DFC-4AE9-9838-B6550221A5D8}"/>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endParaRPr lang="en-US" sz="1000" err="1">
              <a:solidFill>
                <a:srgbClr val="000000"/>
              </a:solidFill>
              <a:latin typeface="Calibri" panose="020F0502020204030204" pitchFamily="34" charset="0"/>
            </a:endParaRPr>
          </a:p>
        </p:txBody>
      </p:sp>
    </p:spTree>
    <p:custDataLst>
      <p:tags r:id="rId21"/>
    </p:custDataLst>
    <p:extLst>
      <p:ext uri="{BB962C8B-B14F-4D97-AF65-F5344CB8AC3E}">
        <p14:creationId xmlns:p14="http://schemas.microsoft.com/office/powerpoint/2010/main" val="48523970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Lst>
  <p:transition/>
  <p:hf sldNum="0" hdr="0" dt="0"/>
  <p:txStyles>
    <p:titleStyle>
      <a:lvl1pPr algn="l" defTabSz="931507" rtl="0" eaLnBrk="1" latinLnBrk="0" hangingPunct="1">
        <a:spcBef>
          <a:spcPct val="0"/>
        </a:spcBef>
        <a:buNone/>
        <a:defRPr sz="2656" b="1" kern="1200" cap="none" baseline="0">
          <a:solidFill>
            <a:srgbClr val="F40009"/>
          </a:solidFill>
          <a:effectLst/>
          <a:latin typeface="+mj-lt"/>
          <a:ea typeface="+mj-ea"/>
          <a:cs typeface="+mj-cs"/>
        </a:defRPr>
      </a:lvl1pPr>
    </p:titleStyle>
    <p:bodyStyle>
      <a:lvl1pPr marL="173594" marR="0" indent="-173594" algn="l" defTabSz="931262" rtl="0" eaLnBrk="1" fontAlgn="base" latinLnBrk="0" hangingPunct="1">
        <a:lnSpc>
          <a:spcPct val="100000"/>
        </a:lnSpc>
        <a:spcBef>
          <a:spcPts val="570"/>
        </a:spcBef>
        <a:spcAft>
          <a:spcPct val="0"/>
        </a:spcAft>
        <a:buClr>
          <a:schemeClr val="tx1"/>
        </a:buClr>
        <a:buSzPct val="100000"/>
        <a:buFont typeface="Verdana" pitchFamily="34" charset="0"/>
        <a:buChar char="•"/>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347189" marR="0" indent="-173594" algn="l" defTabSz="931262" rtl="0" eaLnBrk="1" fontAlgn="base" latinLnBrk="0" hangingPunct="1">
        <a:lnSpc>
          <a:spcPct val="100000"/>
        </a:lnSpc>
        <a:spcBef>
          <a:spcPts val="285"/>
        </a:spcBef>
        <a:spcAft>
          <a:spcPct val="0"/>
        </a:spcAft>
        <a:buClr>
          <a:schemeClr val="tx1"/>
        </a:buClr>
        <a:buSzPct val="100000"/>
        <a:buFont typeface="Courier New" panose="02070309020205020404" pitchFamily="49" charset="0"/>
        <a:buChar char="o"/>
        <a:defRPr lang="en-CA" altLang="zh-CN" sz="1329" kern="1200" baseline="0" noProof="1">
          <a:solidFill>
            <a:schemeClr val="tx1"/>
          </a:solidFill>
          <a:effectLst/>
          <a:latin typeface="+mn-lt"/>
          <a:ea typeface="+mn-ea"/>
          <a:cs typeface="+mn-cs"/>
        </a:defRPr>
      </a:lvl2pPr>
      <a:lvl3pPr marL="607580" marR="0" indent="-173594" algn="l" defTabSz="931262" rtl="0" eaLnBrk="1" fontAlgn="base" latinLnBrk="0" hangingPunct="1">
        <a:lnSpc>
          <a:spcPct val="100000"/>
        </a:lnSpc>
        <a:spcBef>
          <a:spcPct val="20000"/>
        </a:spcBef>
        <a:spcAft>
          <a:spcPct val="0"/>
        </a:spcAft>
        <a:buClr>
          <a:schemeClr val="tx1"/>
        </a:buClr>
        <a:buSzPct val="90000"/>
        <a:buFont typeface="Wingdings" pitchFamily="2" charset="2"/>
        <a:buChar char="§"/>
        <a:defRPr lang="en-US" altLang="en-US" sz="1329" kern="1200" noProof="1" dirty="0">
          <a:solidFill>
            <a:schemeClr val="tx1"/>
          </a:solidFill>
          <a:effectLst/>
          <a:latin typeface="+mn-lt"/>
          <a:ea typeface="+mn-ea"/>
          <a:cs typeface="+mn-cs"/>
        </a:defRPr>
      </a:lvl3pPr>
      <a:lvl4pPr marL="607580" marR="0" indent="-173594" algn="l" defTabSz="931507" rtl="0" eaLnBrk="1" fontAlgn="auto" latinLnBrk="0" hangingPunct="1">
        <a:lnSpc>
          <a:spcPct val="100000"/>
        </a:lnSpc>
        <a:spcBef>
          <a:spcPct val="20000"/>
        </a:spcBef>
        <a:spcAft>
          <a:spcPct val="0"/>
        </a:spcAft>
        <a:buClr>
          <a:schemeClr val="tx1"/>
        </a:buClr>
        <a:buSzTx/>
        <a:buFont typeface="Verdana" pitchFamily="34" charset="0"/>
        <a:buChar char="-"/>
        <a:defRPr lang="en-CA" altLang="zh-CN" sz="1519" kern="1200">
          <a:solidFill>
            <a:schemeClr val="tx1"/>
          </a:solidFill>
          <a:effectLst/>
          <a:latin typeface="+mn-lt"/>
          <a:ea typeface="+mn-ea"/>
          <a:cs typeface="+mn-cs"/>
        </a:defRPr>
      </a:lvl4pPr>
      <a:lvl5pPr marL="2095892" indent="-232876" algn="l" defTabSz="931507" rtl="0" eaLnBrk="1" latinLnBrk="0" hangingPunct="1">
        <a:spcBef>
          <a:spcPct val="20000"/>
        </a:spcBef>
        <a:buFont typeface="Arial" pitchFamily="34" charset="0"/>
        <a:buChar char="»"/>
        <a:defRPr sz="2279" kern="1200">
          <a:solidFill>
            <a:schemeClr val="tx1"/>
          </a:solidFill>
          <a:effectLst/>
          <a:latin typeface="Verdana" pitchFamily="34" charset="0"/>
          <a:ea typeface="+mn-ea"/>
          <a:cs typeface="+mn-cs"/>
        </a:defRPr>
      </a:lvl5pPr>
      <a:lvl6pPr marL="2561645"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6pPr>
      <a:lvl7pPr marL="3027398"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7pPr>
      <a:lvl8pPr marL="3493153"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8pPr>
      <a:lvl9pPr marL="3958906"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9pPr>
    </p:bodyStyle>
    <p:otherStyle>
      <a:defPPr>
        <a:defRPr lang="en-US">
          <a:effectLst/>
        </a:defRPr>
      </a:defPPr>
      <a:lvl1pPr marL="0" algn="l" defTabSz="931507" rtl="0" eaLnBrk="1" latinLnBrk="0" hangingPunct="1">
        <a:defRPr sz="1709" kern="1200">
          <a:solidFill>
            <a:schemeClr val="tx1"/>
          </a:solidFill>
          <a:effectLst/>
          <a:latin typeface="+mn-lt"/>
          <a:ea typeface="+mn-ea"/>
          <a:cs typeface="+mn-cs"/>
        </a:defRPr>
      </a:lvl1pPr>
      <a:lvl2pPr marL="465754" algn="l" defTabSz="931507" rtl="0" eaLnBrk="1" latinLnBrk="0" hangingPunct="1">
        <a:defRPr sz="1804" kern="1200">
          <a:solidFill>
            <a:schemeClr val="tx1"/>
          </a:solidFill>
          <a:effectLst/>
          <a:latin typeface="+mn-lt"/>
          <a:ea typeface="+mn-ea"/>
          <a:cs typeface="+mn-cs"/>
        </a:defRPr>
      </a:lvl2pPr>
      <a:lvl3pPr marL="931507" algn="l" defTabSz="931507" rtl="0" eaLnBrk="1" latinLnBrk="0" hangingPunct="1">
        <a:defRPr sz="1804" kern="1200">
          <a:solidFill>
            <a:schemeClr val="tx1"/>
          </a:solidFill>
          <a:effectLst/>
          <a:latin typeface="+mn-lt"/>
          <a:ea typeface="+mn-ea"/>
          <a:cs typeface="+mn-cs"/>
        </a:defRPr>
      </a:lvl3pPr>
      <a:lvl4pPr marL="1397261" algn="l" defTabSz="931507" rtl="0" eaLnBrk="1" latinLnBrk="0" hangingPunct="1">
        <a:defRPr sz="1804" kern="1200">
          <a:solidFill>
            <a:schemeClr val="tx1"/>
          </a:solidFill>
          <a:effectLst/>
          <a:latin typeface="+mn-lt"/>
          <a:ea typeface="+mn-ea"/>
          <a:cs typeface="+mn-cs"/>
        </a:defRPr>
      </a:lvl4pPr>
      <a:lvl5pPr marL="1863014" algn="l" defTabSz="931507" rtl="0" eaLnBrk="1" latinLnBrk="0" hangingPunct="1">
        <a:defRPr sz="1804" kern="1200">
          <a:solidFill>
            <a:schemeClr val="tx1"/>
          </a:solidFill>
          <a:effectLst/>
          <a:latin typeface="+mn-lt"/>
          <a:ea typeface="+mn-ea"/>
          <a:cs typeface="+mn-cs"/>
        </a:defRPr>
      </a:lvl5pPr>
      <a:lvl6pPr marL="2328768" algn="l" defTabSz="931507" rtl="0" eaLnBrk="1" latinLnBrk="0" hangingPunct="1">
        <a:defRPr sz="1804" kern="1200">
          <a:solidFill>
            <a:schemeClr val="tx1"/>
          </a:solidFill>
          <a:effectLst/>
          <a:latin typeface="+mn-lt"/>
          <a:ea typeface="+mn-ea"/>
          <a:cs typeface="+mn-cs"/>
        </a:defRPr>
      </a:lvl6pPr>
      <a:lvl7pPr marL="2794521" algn="l" defTabSz="931507" rtl="0" eaLnBrk="1" latinLnBrk="0" hangingPunct="1">
        <a:defRPr sz="1804" kern="1200">
          <a:solidFill>
            <a:schemeClr val="tx1"/>
          </a:solidFill>
          <a:effectLst/>
          <a:latin typeface="+mn-lt"/>
          <a:ea typeface="+mn-ea"/>
          <a:cs typeface="+mn-cs"/>
        </a:defRPr>
      </a:lvl7pPr>
      <a:lvl8pPr marL="3260277" algn="l" defTabSz="931507" rtl="0" eaLnBrk="1" latinLnBrk="0" hangingPunct="1">
        <a:defRPr sz="1804" kern="1200">
          <a:solidFill>
            <a:schemeClr val="tx1"/>
          </a:solidFill>
          <a:effectLst/>
          <a:latin typeface="+mn-lt"/>
          <a:ea typeface="+mn-ea"/>
          <a:cs typeface="+mn-cs"/>
        </a:defRPr>
      </a:lvl8pPr>
      <a:lvl9pPr marL="3726029" algn="l" defTabSz="931507" rtl="0" eaLnBrk="1" latinLnBrk="0" hangingPunct="1">
        <a:defRPr sz="1804" kern="1200">
          <a:solidFill>
            <a:schemeClr val="tx1"/>
          </a:solidFill>
          <a:effectLst/>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TCCC-UnityText" panose="020B0305030303020204" pitchFamily="34" charset="77"/>
              </a:defRPr>
            </a:lvl1pPr>
          </a:lstStyle>
          <a:p>
            <a:fld id="{07282813-90A4-B841-8DAA-4B00E2E34CD3}" type="datetimeFigureOut">
              <a:rPr lang="en-US" smtClean="0"/>
              <a:pPr/>
              <a:t>4/17/2023</a:t>
            </a:fld>
            <a:endParaRPr lang="en-US"/>
          </a:p>
        </p:txBody>
      </p:sp>
      <p:sp>
        <p:nvSpPr>
          <p:cNvPr id="8" name="Rectangle 7">
            <a:extLst>
              <a:ext uri="{FF2B5EF4-FFF2-40B4-BE49-F238E27FC236}">
                <a16:creationId xmlns:a16="http://schemas.microsoft.com/office/drawing/2014/main" id="{2BDB2C99-F2FB-F54E-A51E-D6C3C3C75C50}"/>
              </a:ext>
            </a:extLst>
          </p:cNvPr>
          <p:cNvSpPr/>
          <p:nvPr userDrawn="1"/>
        </p:nvSpPr>
        <p:spPr>
          <a:xfrm rot="16200000">
            <a:off x="-3351944" y="3351943"/>
            <a:ext cx="6858001" cy="154112"/>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SIPCMContentMarking" descr="{&quot;HashCode&quot;:427984535,&quot;Placement&quot;:&quot;Footer&quot;}">
            <a:extLst>
              <a:ext uri="{FF2B5EF4-FFF2-40B4-BE49-F238E27FC236}">
                <a16:creationId xmlns:a16="http://schemas.microsoft.com/office/drawing/2014/main" id="{32EDE281-6D5B-4CF3-82D9-7E8082A87F86}"/>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15296582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9" r:id="rId10"/>
  </p:sldLayoutIdLst>
  <p:txStyles>
    <p:titleStyle>
      <a:lvl1pPr algn="l" defTabSz="914400" rtl="0" eaLnBrk="1" latinLnBrk="0" hangingPunct="1">
        <a:lnSpc>
          <a:spcPct val="90000"/>
        </a:lnSpc>
        <a:spcBef>
          <a:spcPct val="0"/>
        </a:spcBef>
        <a:buNone/>
        <a:defRPr sz="2400" b="1" i="0" kern="1200">
          <a:solidFill>
            <a:schemeClr val="tx1"/>
          </a:solidFill>
          <a:latin typeface="TCCC-UnityHeadline" panose="020B0305030303020204" pitchFamily="34"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TCCC-UnityHeadline" panose="020B0305030303020204" pitchFamily="34" charset="77"/>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TCCC-UnityHeadline" panose="020B0305030303020204" pitchFamily="34" charset="77"/>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a:effectLst/>
      </p:grpSpPr>
      <p:graphicFrame>
        <p:nvGraphicFramePr>
          <p:cNvPr id="2" name="Object 1" hidden="1"/>
          <p:cNvGraphicFramePr>
            <a:graphicFrameLocks noChangeAspect="1"/>
          </p:cNvGraphicFramePr>
          <p:nvPr userDrawn="1">
            <p:custDataLst>
              <p:tags r:id="rId4"/>
            </p:custDataLst>
          </p:nvPr>
        </p:nvGraphicFramePr>
        <p:xfrm>
          <a:off x="1510" y="1510"/>
          <a:ext cx="1507" cy="1507"/>
        </p:xfrm>
        <a:graphic>
          <a:graphicData uri="http://schemas.openxmlformats.org/presentationml/2006/ole">
            <mc:AlternateContent xmlns:mc="http://schemas.openxmlformats.org/markup-compatibility/2006">
              <mc:Choice xmlns:v="urn:schemas-microsoft-com:vml" Requires="v">
                <p:oleObj name="think-cell Slide" r:id="rId6" imgW="423" imgH="424" progId="TCLayout.ActiveDocument.1">
                  <p:embed/>
                </p:oleObj>
              </mc:Choice>
              <mc:Fallback>
                <p:oleObj name="think-cell Slide" r:id="rId6" imgW="423" imgH="424" progId="TCLayout.ActiveDocument.1">
                  <p:embed/>
                  <p:pic>
                    <p:nvPicPr>
                      <p:cNvPr id="2" name="Object 1" hidden="1"/>
                      <p:cNvPicPr/>
                      <p:nvPr/>
                    </p:nvPicPr>
                    <p:blipFill>
                      <a:blip r:embed="rId7"/>
                      <a:stretch>
                        <a:fillRect/>
                      </a:stretch>
                    </p:blipFill>
                    <p:spPr>
                      <a:xfrm>
                        <a:off x="1510" y="1510"/>
                        <a:ext cx="1507" cy="1507"/>
                      </a:xfrm>
                      <a:prstGeom prst="rect">
                        <a:avLst/>
                      </a:prstGeom>
                    </p:spPr>
                  </p:pic>
                </p:oleObj>
              </mc:Fallback>
            </mc:AlternateContent>
          </a:graphicData>
        </a:graphic>
      </p:graphicFrame>
      <p:grpSp>
        <p:nvGrpSpPr>
          <p:cNvPr id="12" name="Shape 8">
            <a:extLst>
              <a:ext uri="{FF2B5EF4-FFF2-40B4-BE49-F238E27FC236}">
                <a16:creationId xmlns:a16="http://schemas.microsoft.com/office/drawing/2014/main" id="{DD825378-454D-DA49-A166-2A7028988423}"/>
              </a:ext>
            </a:extLst>
          </p:cNvPr>
          <p:cNvGrpSpPr/>
          <p:nvPr userDrawn="1"/>
        </p:nvGrpSpPr>
        <p:grpSpPr>
          <a:xfrm>
            <a:off x="390676" y="329910"/>
            <a:ext cx="11407128" cy="6052754"/>
            <a:chOff x="5921004" y="-327265"/>
            <a:chExt cx="6468255" cy="6993762"/>
          </a:xfrm>
        </p:grpSpPr>
        <p:grpSp>
          <p:nvGrpSpPr>
            <p:cNvPr id="13" name="Shape 9">
              <a:extLst>
                <a:ext uri="{FF2B5EF4-FFF2-40B4-BE49-F238E27FC236}">
                  <a16:creationId xmlns:a16="http://schemas.microsoft.com/office/drawing/2014/main" id="{978B0E9D-DC3E-DA4D-8DF4-967C18B1FD4C}"/>
                </a:ext>
              </a:extLst>
            </p:cNvPr>
            <p:cNvGrpSpPr/>
            <p:nvPr/>
          </p:nvGrpSpPr>
          <p:grpSpPr>
            <a:xfrm>
              <a:off x="5926388" y="-327264"/>
              <a:ext cx="6462871" cy="6993761"/>
              <a:chOff x="0" y="475487"/>
              <a:chExt cx="10058400" cy="6458415"/>
            </a:xfrm>
          </p:grpSpPr>
          <p:cxnSp>
            <p:nvCxnSpPr>
              <p:cNvPr id="29" name="Shape 10">
                <a:extLst>
                  <a:ext uri="{FF2B5EF4-FFF2-40B4-BE49-F238E27FC236}">
                    <a16:creationId xmlns:a16="http://schemas.microsoft.com/office/drawing/2014/main" id="{78E628F7-2286-6440-8160-E97A1BFE1643}"/>
                  </a:ext>
                </a:extLst>
              </p:cNvPr>
              <p:cNvCxnSpPr/>
              <p:nvPr/>
            </p:nvCxnSpPr>
            <p:spPr>
              <a:xfrm>
                <a:off x="0" y="47548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0" name="Shape 11">
                <a:extLst>
                  <a:ext uri="{FF2B5EF4-FFF2-40B4-BE49-F238E27FC236}">
                    <a16:creationId xmlns:a16="http://schemas.microsoft.com/office/drawing/2014/main" id="{E9E52D0A-65A2-DD42-9DA7-B36BE7E708C8}"/>
                  </a:ext>
                </a:extLst>
              </p:cNvPr>
              <p:cNvCxnSpPr/>
              <p:nvPr/>
            </p:nvCxnSpPr>
            <p:spPr>
              <a:xfrm>
                <a:off x="0" y="101369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1" name="Shape 12">
                <a:extLst>
                  <a:ext uri="{FF2B5EF4-FFF2-40B4-BE49-F238E27FC236}">
                    <a16:creationId xmlns:a16="http://schemas.microsoft.com/office/drawing/2014/main" id="{CEA621E7-89A0-DD45-A2ED-5C411438DE7C}"/>
                  </a:ext>
                </a:extLst>
              </p:cNvPr>
              <p:cNvCxnSpPr/>
              <p:nvPr/>
            </p:nvCxnSpPr>
            <p:spPr>
              <a:xfrm>
                <a:off x="0" y="15518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2" name="Shape 13">
                <a:extLst>
                  <a:ext uri="{FF2B5EF4-FFF2-40B4-BE49-F238E27FC236}">
                    <a16:creationId xmlns:a16="http://schemas.microsoft.com/office/drawing/2014/main" id="{B0C73D52-E271-384D-99B1-D40EC80BC973}"/>
                  </a:ext>
                </a:extLst>
              </p:cNvPr>
              <p:cNvCxnSpPr/>
              <p:nvPr/>
            </p:nvCxnSpPr>
            <p:spPr>
              <a:xfrm>
                <a:off x="0" y="18209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3" name="Shape 14">
                <a:extLst>
                  <a:ext uri="{FF2B5EF4-FFF2-40B4-BE49-F238E27FC236}">
                    <a16:creationId xmlns:a16="http://schemas.microsoft.com/office/drawing/2014/main" id="{375BC64D-325E-6D4B-B884-CF734E697CFC}"/>
                  </a:ext>
                </a:extLst>
              </p:cNvPr>
              <p:cNvCxnSpPr/>
              <p:nvPr/>
            </p:nvCxnSpPr>
            <p:spPr>
              <a:xfrm>
                <a:off x="0" y="20900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4" name="Shape 15">
                <a:extLst>
                  <a:ext uri="{FF2B5EF4-FFF2-40B4-BE49-F238E27FC236}">
                    <a16:creationId xmlns:a16="http://schemas.microsoft.com/office/drawing/2014/main" id="{15446D9F-1DE8-FE40-85A8-8B40F11D939B}"/>
                  </a:ext>
                </a:extLst>
              </p:cNvPr>
              <p:cNvCxnSpPr/>
              <p:nvPr/>
            </p:nvCxnSpPr>
            <p:spPr>
              <a:xfrm>
                <a:off x="0" y="235919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5" name="Shape 16">
                <a:extLst>
                  <a:ext uri="{FF2B5EF4-FFF2-40B4-BE49-F238E27FC236}">
                    <a16:creationId xmlns:a16="http://schemas.microsoft.com/office/drawing/2014/main" id="{59F659C3-28EA-8F4B-A464-25F84BF919BD}"/>
                  </a:ext>
                </a:extLst>
              </p:cNvPr>
              <p:cNvCxnSpPr/>
              <p:nvPr/>
            </p:nvCxnSpPr>
            <p:spPr>
              <a:xfrm>
                <a:off x="0" y="2628296"/>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6" name="Shape 17">
                <a:extLst>
                  <a:ext uri="{FF2B5EF4-FFF2-40B4-BE49-F238E27FC236}">
                    <a16:creationId xmlns:a16="http://schemas.microsoft.com/office/drawing/2014/main" id="{2E3FDA7C-D41C-8C4E-8CEC-2DF5F5B22C09}"/>
                  </a:ext>
                </a:extLst>
              </p:cNvPr>
              <p:cNvCxnSpPr/>
              <p:nvPr/>
            </p:nvCxnSpPr>
            <p:spPr>
              <a:xfrm>
                <a:off x="0" y="289739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7" name="Shape 18">
                <a:extLst>
                  <a:ext uri="{FF2B5EF4-FFF2-40B4-BE49-F238E27FC236}">
                    <a16:creationId xmlns:a16="http://schemas.microsoft.com/office/drawing/2014/main" id="{36AC2B17-FCDF-AD43-9D5F-228B93990517}"/>
                  </a:ext>
                </a:extLst>
              </p:cNvPr>
              <p:cNvCxnSpPr/>
              <p:nvPr/>
            </p:nvCxnSpPr>
            <p:spPr>
              <a:xfrm>
                <a:off x="0" y="3166498"/>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8" name="Shape 19">
                <a:extLst>
                  <a:ext uri="{FF2B5EF4-FFF2-40B4-BE49-F238E27FC236}">
                    <a16:creationId xmlns:a16="http://schemas.microsoft.com/office/drawing/2014/main" id="{13DB302F-6590-E944-8AC8-5D4574EF817B}"/>
                  </a:ext>
                </a:extLst>
              </p:cNvPr>
              <p:cNvCxnSpPr/>
              <p:nvPr/>
            </p:nvCxnSpPr>
            <p:spPr>
              <a:xfrm>
                <a:off x="0" y="3435598"/>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39" name="Shape 20">
                <a:extLst>
                  <a:ext uri="{FF2B5EF4-FFF2-40B4-BE49-F238E27FC236}">
                    <a16:creationId xmlns:a16="http://schemas.microsoft.com/office/drawing/2014/main" id="{CAC6290A-7F43-1B4E-A5E5-E344EF48451B}"/>
                  </a:ext>
                </a:extLst>
              </p:cNvPr>
              <p:cNvCxnSpPr/>
              <p:nvPr/>
            </p:nvCxnSpPr>
            <p:spPr>
              <a:xfrm>
                <a:off x="0" y="370470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0" name="Shape 21">
                <a:extLst>
                  <a:ext uri="{FF2B5EF4-FFF2-40B4-BE49-F238E27FC236}">
                    <a16:creationId xmlns:a16="http://schemas.microsoft.com/office/drawing/2014/main" id="{F2E526A6-4E85-AD45-A5D4-4FBF4685051E}"/>
                  </a:ext>
                </a:extLst>
              </p:cNvPr>
              <p:cNvCxnSpPr/>
              <p:nvPr/>
            </p:nvCxnSpPr>
            <p:spPr>
              <a:xfrm>
                <a:off x="0" y="397380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1" name="Shape 22">
                <a:extLst>
                  <a:ext uri="{FF2B5EF4-FFF2-40B4-BE49-F238E27FC236}">
                    <a16:creationId xmlns:a16="http://schemas.microsoft.com/office/drawing/2014/main" id="{EE0B7531-1224-9647-AD28-6549A8316A74}"/>
                  </a:ext>
                </a:extLst>
              </p:cNvPr>
              <p:cNvCxnSpPr/>
              <p:nvPr/>
            </p:nvCxnSpPr>
            <p:spPr>
              <a:xfrm>
                <a:off x="0" y="4242901"/>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2" name="Shape 23">
                <a:extLst>
                  <a:ext uri="{FF2B5EF4-FFF2-40B4-BE49-F238E27FC236}">
                    <a16:creationId xmlns:a16="http://schemas.microsoft.com/office/drawing/2014/main" id="{E4AF07B8-65FF-5345-AFFA-15B9FBF48225}"/>
                  </a:ext>
                </a:extLst>
              </p:cNvPr>
              <p:cNvCxnSpPr/>
              <p:nvPr/>
            </p:nvCxnSpPr>
            <p:spPr>
              <a:xfrm>
                <a:off x="0" y="4512003"/>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3" name="Shape 24">
                <a:extLst>
                  <a:ext uri="{FF2B5EF4-FFF2-40B4-BE49-F238E27FC236}">
                    <a16:creationId xmlns:a16="http://schemas.microsoft.com/office/drawing/2014/main" id="{1F7154A0-A532-3547-83C4-45A875A2590C}"/>
                  </a:ext>
                </a:extLst>
              </p:cNvPr>
              <p:cNvCxnSpPr/>
              <p:nvPr/>
            </p:nvCxnSpPr>
            <p:spPr>
              <a:xfrm>
                <a:off x="0" y="4781103"/>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4" name="Shape 25">
                <a:extLst>
                  <a:ext uri="{FF2B5EF4-FFF2-40B4-BE49-F238E27FC236}">
                    <a16:creationId xmlns:a16="http://schemas.microsoft.com/office/drawing/2014/main" id="{30F3C4B8-C3D2-E140-B2C0-ACEFBA654104}"/>
                  </a:ext>
                </a:extLst>
              </p:cNvPr>
              <p:cNvCxnSpPr/>
              <p:nvPr/>
            </p:nvCxnSpPr>
            <p:spPr>
              <a:xfrm>
                <a:off x="0" y="5050205"/>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5" name="Shape 26">
                <a:extLst>
                  <a:ext uri="{FF2B5EF4-FFF2-40B4-BE49-F238E27FC236}">
                    <a16:creationId xmlns:a16="http://schemas.microsoft.com/office/drawing/2014/main" id="{2EC82DFD-2EDE-DC42-912C-E4A3692B7E43}"/>
                  </a:ext>
                </a:extLst>
              </p:cNvPr>
              <p:cNvCxnSpPr/>
              <p:nvPr/>
            </p:nvCxnSpPr>
            <p:spPr>
              <a:xfrm>
                <a:off x="0" y="5319305"/>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6" name="Shape 27">
                <a:extLst>
                  <a:ext uri="{FF2B5EF4-FFF2-40B4-BE49-F238E27FC236}">
                    <a16:creationId xmlns:a16="http://schemas.microsoft.com/office/drawing/2014/main" id="{95626F77-E77D-4B41-8584-38229D18C3F2}"/>
                  </a:ext>
                </a:extLst>
              </p:cNvPr>
              <p:cNvCxnSpPr/>
              <p:nvPr/>
            </p:nvCxnSpPr>
            <p:spPr>
              <a:xfrm>
                <a:off x="0" y="558840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7" name="Shape 28">
                <a:extLst>
                  <a:ext uri="{FF2B5EF4-FFF2-40B4-BE49-F238E27FC236}">
                    <a16:creationId xmlns:a16="http://schemas.microsoft.com/office/drawing/2014/main" id="{54479E39-FC9B-DB45-8D15-762767D9FE4F}"/>
                  </a:ext>
                </a:extLst>
              </p:cNvPr>
              <p:cNvCxnSpPr/>
              <p:nvPr/>
            </p:nvCxnSpPr>
            <p:spPr>
              <a:xfrm>
                <a:off x="0" y="585750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8" name="Shape 29">
                <a:extLst>
                  <a:ext uri="{FF2B5EF4-FFF2-40B4-BE49-F238E27FC236}">
                    <a16:creationId xmlns:a16="http://schemas.microsoft.com/office/drawing/2014/main" id="{0537F3CB-1370-E448-B2B4-16BDAECE8A92}"/>
                  </a:ext>
                </a:extLst>
              </p:cNvPr>
              <p:cNvCxnSpPr/>
              <p:nvPr/>
            </p:nvCxnSpPr>
            <p:spPr>
              <a:xfrm>
                <a:off x="0" y="6126607"/>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49" name="Shape 30">
                <a:extLst>
                  <a:ext uri="{FF2B5EF4-FFF2-40B4-BE49-F238E27FC236}">
                    <a16:creationId xmlns:a16="http://schemas.microsoft.com/office/drawing/2014/main" id="{C167995E-D01D-3A4D-8F1E-018440F56077}"/>
                  </a:ext>
                </a:extLst>
              </p:cNvPr>
              <p:cNvCxnSpPr/>
              <p:nvPr/>
            </p:nvCxnSpPr>
            <p:spPr>
              <a:xfrm>
                <a:off x="0" y="639571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0" name="Shape 31">
                <a:extLst>
                  <a:ext uri="{FF2B5EF4-FFF2-40B4-BE49-F238E27FC236}">
                    <a16:creationId xmlns:a16="http://schemas.microsoft.com/office/drawing/2014/main" id="{24431967-D0FA-B546-83FF-EA9E8DE1F841}"/>
                  </a:ext>
                </a:extLst>
              </p:cNvPr>
              <p:cNvCxnSpPr/>
              <p:nvPr/>
            </p:nvCxnSpPr>
            <p:spPr>
              <a:xfrm>
                <a:off x="0" y="6664810"/>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1" name="Shape 32">
                <a:extLst>
                  <a:ext uri="{FF2B5EF4-FFF2-40B4-BE49-F238E27FC236}">
                    <a16:creationId xmlns:a16="http://schemas.microsoft.com/office/drawing/2014/main" id="{5304868F-E9E2-1C4F-827E-34FCF9D1F7EA}"/>
                  </a:ext>
                </a:extLst>
              </p:cNvPr>
              <p:cNvCxnSpPr/>
              <p:nvPr/>
            </p:nvCxnSpPr>
            <p:spPr>
              <a:xfrm>
                <a:off x="0" y="6933902"/>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2" name="Shape 33">
                <a:extLst>
                  <a:ext uri="{FF2B5EF4-FFF2-40B4-BE49-F238E27FC236}">
                    <a16:creationId xmlns:a16="http://schemas.microsoft.com/office/drawing/2014/main" id="{B999333C-68A1-EE42-8398-03125FA79850}"/>
                  </a:ext>
                </a:extLst>
              </p:cNvPr>
              <p:cNvCxnSpPr/>
              <p:nvPr/>
            </p:nvCxnSpPr>
            <p:spPr>
              <a:xfrm>
                <a:off x="0" y="744589"/>
                <a:ext cx="10058400" cy="0"/>
              </a:xfrm>
              <a:prstGeom prst="straightConnector1">
                <a:avLst/>
              </a:prstGeom>
              <a:noFill/>
              <a:ln w="9525" cap="flat" cmpd="sng">
                <a:solidFill>
                  <a:srgbClr val="00B0F0">
                    <a:alpha val="0"/>
                  </a:srgbClr>
                </a:solidFill>
                <a:prstDash val="solid"/>
                <a:round/>
                <a:headEnd type="none" w="med" len="med"/>
                <a:tailEnd type="none" w="med" len="med"/>
              </a:ln>
            </p:spPr>
          </p:cxnSp>
          <p:cxnSp>
            <p:nvCxnSpPr>
              <p:cNvPr id="53" name="Shape 34">
                <a:extLst>
                  <a:ext uri="{FF2B5EF4-FFF2-40B4-BE49-F238E27FC236}">
                    <a16:creationId xmlns:a16="http://schemas.microsoft.com/office/drawing/2014/main" id="{E577B0A8-3326-734A-9949-744BE47BC7F4}"/>
                  </a:ext>
                </a:extLst>
              </p:cNvPr>
              <p:cNvCxnSpPr/>
              <p:nvPr/>
            </p:nvCxnSpPr>
            <p:spPr>
              <a:xfrm>
                <a:off x="0" y="1282791"/>
                <a:ext cx="10058400" cy="0"/>
              </a:xfrm>
              <a:prstGeom prst="straightConnector1">
                <a:avLst/>
              </a:prstGeom>
              <a:noFill/>
              <a:ln w="9525" cap="flat" cmpd="sng">
                <a:solidFill>
                  <a:srgbClr val="00B0F0">
                    <a:alpha val="0"/>
                  </a:srgbClr>
                </a:solidFill>
                <a:prstDash val="solid"/>
                <a:round/>
                <a:headEnd type="none" w="med" len="med"/>
                <a:tailEnd type="none" w="med" len="med"/>
              </a:ln>
            </p:spPr>
          </p:cxnSp>
        </p:grpSp>
        <p:grpSp>
          <p:nvGrpSpPr>
            <p:cNvPr id="14" name="Shape 35">
              <a:extLst>
                <a:ext uri="{FF2B5EF4-FFF2-40B4-BE49-F238E27FC236}">
                  <a16:creationId xmlns:a16="http://schemas.microsoft.com/office/drawing/2014/main" id="{AF1A6B4D-1D1B-844E-BDD6-DE781ECA4269}"/>
                </a:ext>
              </a:extLst>
            </p:cNvPr>
            <p:cNvGrpSpPr/>
            <p:nvPr/>
          </p:nvGrpSpPr>
          <p:grpSpPr>
            <a:xfrm>
              <a:off x="5921004" y="-327265"/>
              <a:ext cx="6468255" cy="6990393"/>
              <a:chOff x="464135" y="307296"/>
              <a:chExt cx="6383634" cy="6702365"/>
            </a:xfrm>
          </p:grpSpPr>
          <p:sp>
            <p:nvSpPr>
              <p:cNvPr id="16" name="Shape 36">
                <a:extLst>
                  <a:ext uri="{FF2B5EF4-FFF2-40B4-BE49-F238E27FC236}">
                    <a16:creationId xmlns:a16="http://schemas.microsoft.com/office/drawing/2014/main" id="{0A68E546-90FA-FD44-BD63-72A453E01E0B}"/>
                  </a:ext>
                </a:extLst>
              </p:cNvPr>
              <p:cNvSpPr/>
              <p:nvPr/>
            </p:nvSpPr>
            <p:spPr>
              <a:xfrm>
                <a:off x="3194277"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17" name="Shape 37">
                <a:extLst>
                  <a:ext uri="{FF2B5EF4-FFF2-40B4-BE49-F238E27FC236}">
                    <a16:creationId xmlns:a16="http://schemas.microsoft.com/office/drawing/2014/main" id="{01924766-D83E-D345-B5FD-022FFE0B1452}"/>
                  </a:ext>
                </a:extLst>
              </p:cNvPr>
              <p:cNvSpPr/>
              <p:nvPr/>
            </p:nvSpPr>
            <p:spPr>
              <a:xfrm>
                <a:off x="2648246"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18" name="Shape 38">
                <a:extLst>
                  <a:ext uri="{FF2B5EF4-FFF2-40B4-BE49-F238E27FC236}">
                    <a16:creationId xmlns:a16="http://schemas.microsoft.com/office/drawing/2014/main" id="{1561B5FC-B824-F64F-A21E-5BFCA7B92781}"/>
                  </a:ext>
                </a:extLst>
              </p:cNvPr>
              <p:cNvSpPr/>
              <p:nvPr/>
            </p:nvSpPr>
            <p:spPr>
              <a:xfrm>
                <a:off x="2102220"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19" name="Shape 39">
                <a:extLst>
                  <a:ext uri="{FF2B5EF4-FFF2-40B4-BE49-F238E27FC236}">
                    <a16:creationId xmlns:a16="http://schemas.microsoft.com/office/drawing/2014/main" id="{3DC60DA4-CE3F-F247-9923-50E1197D816B}"/>
                  </a:ext>
                </a:extLst>
              </p:cNvPr>
              <p:cNvSpPr/>
              <p:nvPr/>
            </p:nvSpPr>
            <p:spPr>
              <a:xfrm>
                <a:off x="1556191"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0" name="Shape 40">
                <a:extLst>
                  <a:ext uri="{FF2B5EF4-FFF2-40B4-BE49-F238E27FC236}">
                    <a16:creationId xmlns:a16="http://schemas.microsoft.com/office/drawing/2014/main" id="{199C1C45-84A0-9742-BFFF-A3A8025EA55B}"/>
                  </a:ext>
                </a:extLst>
              </p:cNvPr>
              <p:cNvSpPr/>
              <p:nvPr/>
            </p:nvSpPr>
            <p:spPr>
              <a:xfrm>
                <a:off x="464135"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1" name="Shape 41">
                <a:extLst>
                  <a:ext uri="{FF2B5EF4-FFF2-40B4-BE49-F238E27FC236}">
                    <a16:creationId xmlns:a16="http://schemas.microsoft.com/office/drawing/2014/main" id="{4D97E9AC-98D6-A94E-9CC8-58AD93463789}"/>
                  </a:ext>
                </a:extLst>
              </p:cNvPr>
              <p:cNvSpPr/>
              <p:nvPr/>
            </p:nvSpPr>
            <p:spPr>
              <a:xfrm>
                <a:off x="1010162"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3" name="Shape 42">
                <a:extLst>
                  <a:ext uri="{FF2B5EF4-FFF2-40B4-BE49-F238E27FC236}">
                    <a16:creationId xmlns:a16="http://schemas.microsoft.com/office/drawing/2014/main" id="{D44E5E02-E7D8-EA40-BAEA-740195EB8CC3}"/>
                  </a:ext>
                </a:extLst>
              </p:cNvPr>
              <p:cNvSpPr/>
              <p:nvPr/>
            </p:nvSpPr>
            <p:spPr>
              <a:xfrm>
                <a:off x="6470448"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4" name="Shape 43">
                <a:extLst>
                  <a:ext uri="{FF2B5EF4-FFF2-40B4-BE49-F238E27FC236}">
                    <a16:creationId xmlns:a16="http://schemas.microsoft.com/office/drawing/2014/main" id="{A45FF199-3326-DB46-B423-0F3AA2078A64}"/>
                  </a:ext>
                </a:extLst>
              </p:cNvPr>
              <p:cNvSpPr/>
              <p:nvPr/>
            </p:nvSpPr>
            <p:spPr>
              <a:xfrm>
                <a:off x="5924417"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5" name="Shape 44">
                <a:extLst>
                  <a:ext uri="{FF2B5EF4-FFF2-40B4-BE49-F238E27FC236}">
                    <a16:creationId xmlns:a16="http://schemas.microsoft.com/office/drawing/2014/main" id="{32D914E8-8CED-FF46-BB58-9E592448C153}"/>
                  </a:ext>
                </a:extLst>
              </p:cNvPr>
              <p:cNvSpPr/>
              <p:nvPr/>
            </p:nvSpPr>
            <p:spPr>
              <a:xfrm>
                <a:off x="5378390"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6" name="Shape 45">
                <a:extLst>
                  <a:ext uri="{FF2B5EF4-FFF2-40B4-BE49-F238E27FC236}">
                    <a16:creationId xmlns:a16="http://schemas.microsoft.com/office/drawing/2014/main" id="{C9E66333-7FDF-6A40-A3B6-8B5C1A68161F}"/>
                  </a:ext>
                </a:extLst>
              </p:cNvPr>
              <p:cNvSpPr/>
              <p:nvPr/>
            </p:nvSpPr>
            <p:spPr>
              <a:xfrm>
                <a:off x="4832362"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7" name="Shape 46">
                <a:extLst>
                  <a:ext uri="{FF2B5EF4-FFF2-40B4-BE49-F238E27FC236}">
                    <a16:creationId xmlns:a16="http://schemas.microsoft.com/office/drawing/2014/main" id="{BA1A602D-CA49-9F43-A389-B5CD9D3C30F4}"/>
                  </a:ext>
                </a:extLst>
              </p:cNvPr>
              <p:cNvSpPr/>
              <p:nvPr/>
            </p:nvSpPr>
            <p:spPr>
              <a:xfrm>
                <a:off x="3740304"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sp>
            <p:nvSpPr>
              <p:cNvPr id="28" name="Shape 47">
                <a:extLst>
                  <a:ext uri="{FF2B5EF4-FFF2-40B4-BE49-F238E27FC236}">
                    <a16:creationId xmlns:a16="http://schemas.microsoft.com/office/drawing/2014/main" id="{4F632585-CA90-6F45-8616-5706F5FAFC03}"/>
                  </a:ext>
                </a:extLst>
              </p:cNvPr>
              <p:cNvSpPr/>
              <p:nvPr/>
            </p:nvSpPr>
            <p:spPr>
              <a:xfrm>
                <a:off x="4286332" y="307296"/>
                <a:ext cx="377321" cy="6702365"/>
              </a:xfrm>
              <a:prstGeom prst="rect">
                <a:avLst/>
              </a:prstGeom>
              <a:noFill/>
              <a:ln w="9525" cap="flat" cmpd="sng">
                <a:solidFill>
                  <a:srgbClr val="00B0F0">
                    <a:alpha val="0"/>
                  </a:srgbClr>
                </a:solidFill>
                <a:prstDash val="solid"/>
                <a:round/>
                <a:headEnd type="none" w="med" len="med"/>
                <a:tailEnd type="none" w="med" len="med"/>
              </a:ln>
            </p:spPr>
            <p:txBody>
              <a:bodyPr wrap="square" lIns="91425" tIns="45700" rIns="91425" bIns="45700" anchor="ctr" anchorCtr="0">
                <a:noAutofit/>
              </a:bodyPr>
              <a:lstStyle/>
              <a:p>
                <a:pPr marL="0" marR="0" lvl="0" indent="-120541" algn="ctr" rtl="0">
                  <a:lnSpc>
                    <a:spcPct val="100000"/>
                  </a:lnSpc>
                  <a:spcBef>
                    <a:spcPts val="0"/>
                  </a:spcBef>
                  <a:spcAft>
                    <a:spcPts val="0"/>
                  </a:spcAft>
                  <a:buClr>
                    <a:srgbClr val="000000"/>
                  </a:buClr>
                  <a:buFont typeface="Arial"/>
                  <a:buNone/>
                </a:pPr>
                <a:endParaRPr sz="1899" b="0" i="0" u="none" strike="noStrike" cap="none" dirty="0">
                  <a:solidFill>
                    <a:schemeClr val="lt1"/>
                  </a:solidFill>
                  <a:latin typeface="Georgia"/>
                  <a:ea typeface="Georgia"/>
                  <a:cs typeface="Georgia"/>
                  <a:sym typeface="Georgia"/>
                </a:endParaRPr>
              </a:p>
            </p:txBody>
          </p:sp>
        </p:grpSp>
      </p:grpSp>
      <p:sp>
        <p:nvSpPr>
          <p:cNvPr id="22" name="Slide title"/>
          <p:cNvSpPr>
            <a:spLocks noGrp="1" noChangeArrowheads="1"/>
          </p:cNvSpPr>
          <p:nvPr>
            <p:ph type="title"/>
          </p:nvPr>
        </p:nvSpPr>
        <p:spPr>
          <a:xfrm>
            <a:off x="390676" y="329907"/>
            <a:ext cx="11335508" cy="501483"/>
          </a:xfrm>
          <a:prstGeom prst="rect">
            <a:avLst/>
          </a:prstGeom>
          <a:noFill/>
          <a:ln w="9525">
            <a:noFill/>
            <a:miter lim="800000"/>
          </a:ln>
          <a:effectLst/>
        </p:spPr>
        <p:txBody>
          <a:bodyPr vert="horz" wrap="square" lIns="91440" tIns="45720" rIns="91440" bIns="45720" anchor="t" anchorCtr="0" compatLnSpc="1">
            <a:prstTxWarp prst="textNoShape">
              <a:avLst/>
            </a:prstTxWarp>
          </a:bodyPr>
          <a:lstStyle/>
          <a:p>
            <a:pPr lvl="0"/>
            <a:endParaRPr lang="en-CA" noProof="1">
              <a:effectLst/>
            </a:endParaRPr>
          </a:p>
        </p:txBody>
      </p:sp>
      <p:sp>
        <p:nvSpPr>
          <p:cNvPr id="11" name="Text Placeholder 10"/>
          <p:cNvSpPr>
            <a:spLocks noGrp="1"/>
          </p:cNvSpPr>
          <p:nvPr>
            <p:ph type="body" idx="1"/>
            <p:custDataLst>
              <p:tags r:id="rId5"/>
            </p:custDataLst>
          </p:nvPr>
        </p:nvSpPr>
        <p:spPr>
          <a:xfrm>
            <a:off x="390673" y="831393"/>
            <a:ext cx="11407129" cy="5551271"/>
          </a:xfrm>
          <a:prstGeom prst="rect">
            <a:avLst/>
          </a:prstGeom>
          <a:effectLst/>
        </p:spPr>
        <p:txBody>
          <a:bodyPr vert="horz" lIns="91440" tIns="45720" rIns="91440" bIns="45720" rtlCol="0" anchor="t" anchorCtr="0">
            <a:normAutofit/>
          </a:bodyPr>
          <a:lstStyle/>
          <a:p>
            <a:pPr lvl="0"/>
            <a:r>
              <a:rPr lang="en-US">
                <a:effectLst/>
              </a:rPr>
              <a:t>Click to edit Master text styles</a:t>
            </a:r>
          </a:p>
          <a:p>
            <a:pPr lvl="1"/>
            <a:r>
              <a:rPr lang="en-US">
                <a:effectLst/>
              </a:rPr>
              <a:t>Second level</a:t>
            </a:r>
          </a:p>
          <a:p>
            <a:pPr lvl="2"/>
            <a:r>
              <a:rPr lang="en-US">
                <a:effectLst/>
              </a:rPr>
              <a:t>Third level</a:t>
            </a:r>
          </a:p>
        </p:txBody>
      </p:sp>
      <p:sp>
        <p:nvSpPr>
          <p:cNvPr id="15" name="SlideNumber"/>
          <p:cNvSpPr/>
          <p:nvPr/>
        </p:nvSpPr>
        <p:spPr>
          <a:xfrm>
            <a:off x="11544611" y="6458042"/>
            <a:ext cx="255123" cy="18298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760" b="1" baseline="0" smtClean="0">
                <a:solidFill>
                  <a:schemeClr val="accent2"/>
                </a:solidFill>
                <a:effectLst/>
                <a:latin typeface="+mn-lt"/>
              </a:rPr>
              <a:pPr algn="r"/>
              <a:t>‹#›</a:t>
            </a:fld>
            <a:endParaRPr lang="fr-FR" sz="760" b="1" dirty="0">
              <a:solidFill>
                <a:schemeClr val="accent2"/>
              </a:solidFill>
              <a:effectLst/>
              <a:latin typeface="+mn-lt"/>
            </a:endParaRPr>
          </a:p>
        </p:txBody>
      </p:sp>
      <p:sp>
        <p:nvSpPr>
          <p:cNvPr id="9" name="BainStatusStickerPosition" hidden="1"/>
          <p:cNvSpPr/>
          <p:nvPr/>
        </p:nvSpPr>
        <p:spPr>
          <a:xfrm>
            <a:off x="11797803" y="1430107"/>
            <a:ext cx="120579" cy="120580"/>
          </a:xfrm>
          <a:prstGeom prst="rect">
            <a:avLst/>
          </a:prstGeom>
          <a:solidFill>
            <a:schemeClr val="tx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a:p>
        </p:txBody>
      </p:sp>
      <p:sp>
        <p:nvSpPr>
          <p:cNvPr id="10" name="BainArrowConfig" hidden="1"/>
          <p:cNvSpPr/>
          <p:nvPr/>
        </p:nvSpPr>
        <p:spPr>
          <a:xfrm>
            <a:off x="2" y="5004079"/>
            <a:ext cx="120579" cy="120580"/>
          </a:xfrm>
          <a:prstGeom prst="rect">
            <a:avLst/>
          </a:prstGeom>
          <a:solidFill>
            <a:srgbClr val="F40009"/>
          </a:solidFill>
          <a:ln w="12700">
            <a:solidFill>
              <a:srgbClr val="F4000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a:p>
        </p:txBody>
      </p:sp>
      <p:sp>
        <p:nvSpPr>
          <p:cNvPr id="3" name="MSIPCMContentMarking" descr="{&quot;HashCode&quot;:427984535,&quot;Placement&quot;:&quot;Footer&quot;}">
            <a:extLst>
              <a:ext uri="{FF2B5EF4-FFF2-40B4-BE49-F238E27FC236}">
                <a16:creationId xmlns:a16="http://schemas.microsoft.com/office/drawing/2014/main" id="{ABB38B61-4DFC-4AE9-9838-B6550221A5D8}"/>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dirty="0">
                <a:solidFill>
                  <a:srgbClr val="000000"/>
                </a:solidFill>
                <a:latin typeface="Calibri" panose="020F0502020204030204" pitchFamily="34" charset="0"/>
              </a:rPr>
              <a:t>Classified - Confidential</a:t>
            </a:r>
          </a:p>
        </p:txBody>
      </p:sp>
    </p:spTree>
    <p:custDataLst>
      <p:tags r:id="rId3"/>
    </p:custDataLst>
    <p:extLst>
      <p:ext uri="{BB962C8B-B14F-4D97-AF65-F5344CB8AC3E}">
        <p14:creationId xmlns:p14="http://schemas.microsoft.com/office/powerpoint/2010/main" val="485239708"/>
      </p:ext>
    </p:extLst>
  </p:cSld>
  <p:clrMap bg1="lt1" tx1="dk1" bg2="lt2" tx2="dk2" accent1="accent1" accent2="accent2" accent3="accent3" accent4="accent4" accent5="accent5" accent6="accent6" hlink="hlink" folHlink="folHlink"/>
  <p:sldLayoutIdLst>
    <p:sldLayoutId id="2147483731" r:id="rId1"/>
  </p:sldLayoutIdLst>
  <p:transition/>
  <p:hf sldNum="0" hdr="0" dt="0"/>
  <p:txStyles>
    <p:titleStyle>
      <a:lvl1pPr algn="l" defTabSz="931507" rtl="0" eaLnBrk="1" latinLnBrk="0" hangingPunct="1">
        <a:spcBef>
          <a:spcPct val="0"/>
        </a:spcBef>
        <a:buNone/>
        <a:defRPr sz="2656" b="1" kern="1200" cap="none" baseline="0">
          <a:solidFill>
            <a:srgbClr val="F40009"/>
          </a:solidFill>
          <a:effectLst/>
          <a:latin typeface="+mj-lt"/>
          <a:ea typeface="+mj-ea"/>
          <a:cs typeface="+mj-cs"/>
        </a:defRPr>
      </a:lvl1pPr>
    </p:titleStyle>
    <p:bodyStyle>
      <a:lvl1pPr marL="173594" marR="0" indent="-173594" algn="l" defTabSz="931262" rtl="0" eaLnBrk="1" fontAlgn="base" latinLnBrk="0" hangingPunct="1">
        <a:lnSpc>
          <a:spcPct val="100000"/>
        </a:lnSpc>
        <a:spcBef>
          <a:spcPts val="570"/>
        </a:spcBef>
        <a:spcAft>
          <a:spcPct val="0"/>
        </a:spcAft>
        <a:buClr>
          <a:schemeClr val="tx1"/>
        </a:buClr>
        <a:buSzPct val="100000"/>
        <a:buFont typeface="Verdana" pitchFamily="34" charset="0"/>
        <a:buChar char="•"/>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347189" marR="0" indent="-173594" algn="l" defTabSz="931262" rtl="0" eaLnBrk="1" fontAlgn="base" latinLnBrk="0" hangingPunct="1">
        <a:lnSpc>
          <a:spcPct val="100000"/>
        </a:lnSpc>
        <a:spcBef>
          <a:spcPts val="285"/>
        </a:spcBef>
        <a:spcAft>
          <a:spcPct val="0"/>
        </a:spcAft>
        <a:buClr>
          <a:schemeClr val="tx1"/>
        </a:buClr>
        <a:buSzPct val="100000"/>
        <a:buFont typeface="Courier New" panose="02070309020205020404" pitchFamily="49" charset="0"/>
        <a:buChar char="o"/>
        <a:defRPr lang="en-CA" altLang="zh-CN" sz="1329" kern="1200" baseline="0" noProof="1">
          <a:solidFill>
            <a:schemeClr val="tx1"/>
          </a:solidFill>
          <a:effectLst/>
          <a:latin typeface="+mn-lt"/>
          <a:ea typeface="+mn-ea"/>
          <a:cs typeface="+mn-cs"/>
        </a:defRPr>
      </a:lvl2pPr>
      <a:lvl3pPr marL="607580" marR="0" indent="-173594" algn="l" defTabSz="931262" rtl="0" eaLnBrk="1" fontAlgn="base" latinLnBrk="0" hangingPunct="1">
        <a:lnSpc>
          <a:spcPct val="100000"/>
        </a:lnSpc>
        <a:spcBef>
          <a:spcPct val="20000"/>
        </a:spcBef>
        <a:spcAft>
          <a:spcPct val="0"/>
        </a:spcAft>
        <a:buClr>
          <a:schemeClr val="tx1"/>
        </a:buClr>
        <a:buSzPct val="90000"/>
        <a:buFont typeface="Wingdings" pitchFamily="2" charset="2"/>
        <a:buChar char="§"/>
        <a:defRPr lang="en-US" altLang="en-US" sz="1329" kern="1200" noProof="1" dirty="0">
          <a:solidFill>
            <a:schemeClr val="tx1"/>
          </a:solidFill>
          <a:effectLst/>
          <a:latin typeface="+mn-lt"/>
          <a:ea typeface="+mn-ea"/>
          <a:cs typeface="+mn-cs"/>
        </a:defRPr>
      </a:lvl3pPr>
      <a:lvl4pPr marL="607580" marR="0" indent="-173594" algn="l" defTabSz="931507" rtl="0" eaLnBrk="1" fontAlgn="auto" latinLnBrk="0" hangingPunct="1">
        <a:lnSpc>
          <a:spcPct val="100000"/>
        </a:lnSpc>
        <a:spcBef>
          <a:spcPct val="20000"/>
        </a:spcBef>
        <a:spcAft>
          <a:spcPct val="0"/>
        </a:spcAft>
        <a:buClr>
          <a:schemeClr val="tx1"/>
        </a:buClr>
        <a:buSzTx/>
        <a:buFont typeface="Verdana" pitchFamily="34" charset="0"/>
        <a:buChar char="-"/>
        <a:defRPr lang="en-CA" altLang="zh-CN" sz="1519" kern="1200">
          <a:solidFill>
            <a:schemeClr val="tx1"/>
          </a:solidFill>
          <a:effectLst/>
          <a:latin typeface="+mn-lt"/>
          <a:ea typeface="+mn-ea"/>
          <a:cs typeface="+mn-cs"/>
        </a:defRPr>
      </a:lvl4pPr>
      <a:lvl5pPr marL="2095892" indent="-232876" algn="l" defTabSz="931507" rtl="0" eaLnBrk="1" latinLnBrk="0" hangingPunct="1">
        <a:spcBef>
          <a:spcPct val="20000"/>
        </a:spcBef>
        <a:buFont typeface="Arial" pitchFamily="34" charset="0"/>
        <a:buChar char="»"/>
        <a:defRPr sz="2279" kern="1200">
          <a:solidFill>
            <a:schemeClr val="tx1"/>
          </a:solidFill>
          <a:effectLst/>
          <a:latin typeface="Verdana" pitchFamily="34" charset="0"/>
          <a:ea typeface="+mn-ea"/>
          <a:cs typeface="+mn-cs"/>
        </a:defRPr>
      </a:lvl5pPr>
      <a:lvl6pPr marL="2561645"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6pPr>
      <a:lvl7pPr marL="3027398"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7pPr>
      <a:lvl8pPr marL="3493153"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8pPr>
      <a:lvl9pPr marL="3958906" indent="-232876" algn="l" defTabSz="931507" rtl="0" eaLnBrk="1" latinLnBrk="0" hangingPunct="1">
        <a:spcBef>
          <a:spcPct val="20000"/>
        </a:spcBef>
        <a:buFont typeface="Arial" pitchFamily="34" charset="0"/>
        <a:buChar char="•"/>
        <a:defRPr sz="1994" kern="1200">
          <a:solidFill>
            <a:schemeClr val="tx1"/>
          </a:solidFill>
          <a:effectLst/>
          <a:latin typeface="+mn-lt"/>
          <a:ea typeface="+mn-ea"/>
          <a:cs typeface="+mn-cs"/>
        </a:defRPr>
      </a:lvl9pPr>
    </p:bodyStyle>
    <p:otherStyle>
      <a:defPPr>
        <a:defRPr lang="en-US">
          <a:effectLst/>
        </a:defRPr>
      </a:defPPr>
      <a:lvl1pPr marL="0" algn="l" defTabSz="931507" rtl="0" eaLnBrk="1" latinLnBrk="0" hangingPunct="1">
        <a:defRPr sz="1709" kern="1200">
          <a:solidFill>
            <a:schemeClr val="tx1"/>
          </a:solidFill>
          <a:effectLst/>
          <a:latin typeface="+mn-lt"/>
          <a:ea typeface="+mn-ea"/>
          <a:cs typeface="+mn-cs"/>
        </a:defRPr>
      </a:lvl1pPr>
      <a:lvl2pPr marL="465754" algn="l" defTabSz="931507" rtl="0" eaLnBrk="1" latinLnBrk="0" hangingPunct="1">
        <a:defRPr sz="1804" kern="1200">
          <a:solidFill>
            <a:schemeClr val="tx1"/>
          </a:solidFill>
          <a:effectLst/>
          <a:latin typeface="+mn-lt"/>
          <a:ea typeface="+mn-ea"/>
          <a:cs typeface="+mn-cs"/>
        </a:defRPr>
      </a:lvl2pPr>
      <a:lvl3pPr marL="931507" algn="l" defTabSz="931507" rtl="0" eaLnBrk="1" latinLnBrk="0" hangingPunct="1">
        <a:defRPr sz="1804" kern="1200">
          <a:solidFill>
            <a:schemeClr val="tx1"/>
          </a:solidFill>
          <a:effectLst/>
          <a:latin typeface="+mn-lt"/>
          <a:ea typeface="+mn-ea"/>
          <a:cs typeface="+mn-cs"/>
        </a:defRPr>
      </a:lvl3pPr>
      <a:lvl4pPr marL="1397261" algn="l" defTabSz="931507" rtl="0" eaLnBrk="1" latinLnBrk="0" hangingPunct="1">
        <a:defRPr sz="1804" kern="1200">
          <a:solidFill>
            <a:schemeClr val="tx1"/>
          </a:solidFill>
          <a:effectLst/>
          <a:latin typeface="+mn-lt"/>
          <a:ea typeface="+mn-ea"/>
          <a:cs typeface="+mn-cs"/>
        </a:defRPr>
      </a:lvl4pPr>
      <a:lvl5pPr marL="1863014" algn="l" defTabSz="931507" rtl="0" eaLnBrk="1" latinLnBrk="0" hangingPunct="1">
        <a:defRPr sz="1804" kern="1200">
          <a:solidFill>
            <a:schemeClr val="tx1"/>
          </a:solidFill>
          <a:effectLst/>
          <a:latin typeface="+mn-lt"/>
          <a:ea typeface="+mn-ea"/>
          <a:cs typeface="+mn-cs"/>
        </a:defRPr>
      </a:lvl5pPr>
      <a:lvl6pPr marL="2328768" algn="l" defTabSz="931507" rtl="0" eaLnBrk="1" latinLnBrk="0" hangingPunct="1">
        <a:defRPr sz="1804" kern="1200">
          <a:solidFill>
            <a:schemeClr val="tx1"/>
          </a:solidFill>
          <a:effectLst/>
          <a:latin typeface="+mn-lt"/>
          <a:ea typeface="+mn-ea"/>
          <a:cs typeface="+mn-cs"/>
        </a:defRPr>
      </a:lvl6pPr>
      <a:lvl7pPr marL="2794521" algn="l" defTabSz="931507" rtl="0" eaLnBrk="1" latinLnBrk="0" hangingPunct="1">
        <a:defRPr sz="1804" kern="1200">
          <a:solidFill>
            <a:schemeClr val="tx1"/>
          </a:solidFill>
          <a:effectLst/>
          <a:latin typeface="+mn-lt"/>
          <a:ea typeface="+mn-ea"/>
          <a:cs typeface="+mn-cs"/>
        </a:defRPr>
      </a:lvl7pPr>
      <a:lvl8pPr marL="3260277" algn="l" defTabSz="931507" rtl="0" eaLnBrk="1" latinLnBrk="0" hangingPunct="1">
        <a:defRPr sz="1804" kern="1200">
          <a:solidFill>
            <a:schemeClr val="tx1"/>
          </a:solidFill>
          <a:effectLst/>
          <a:latin typeface="+mn-lt"/>
          <a:ea typeface="+mn-ea"/>
          <a:cs typeface="+mn-cs"/>
        </a:defRPr>
      </a:lvl8pPr>
      <a:lvl9pPr marL="3726029" algn="l" defTabSz="931507" rtl="0" eaLnBrk="1" latinLnBrk="0" hangingPunct="1">
        <a:defRPr sz="1804" kern="1200">
          <a:solidFill>
            <a:schemeClr val="tx1"/>
          </a:solidFill>
          <a:effectLst/>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4514" y="1851828"/>
            <a:ext cx="11502972" cy="2306637"/>
          </a:xfrm>
        </p:spPr>
        <p:txBody>
          <a:bodyPr/>
          <a:lstStyle/>
          <a:p>
            <a:r>
              <a:rPr lang="en-US" dirty="0"/>
              <a:t>Project Wilbur – UAT 3</a:t>
            </a:r>
            <a:br>
              <a:rPr lang="en-US" dirty="0"/>
            </a:br>
            <a:br>
              <a:rPr lang="en-US" dirty="0"/>
            </a:br>
            <a:r>
              <a:rPr lang="en-US" dirty="0"/>
              <a:t>Processes, Systems </a:t>
            </a:r>
          </a:p>
        </p:txBody>
      </p:sp>
    </p:spTree>
    <p:extLst>
      <p:ext uri="{BB962C8B-B14F-4D97-AF65-F5344CB8AC3E}">
        <p14:creationId xmlns:p14="http://schemas.microsoft.com/office/powerpoint/2010/main" val="4252209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809" y="528516"/>
            <a:ext cx="10832410" cy="959790"/>
          </a:xfrm>
        </p:spPr>
        <p:txBody>
          <a:bodyPr>
            <a:normAutofit/>
          </a:bodyPr>
          <a:lstStyle/>
          <a:p>
            <a:r>
              <a:rPr lang="en-US" sz="2800">
                <a:solidFill>
                  <a:srgbClr val="FF0000"/>
                </a:solidFill>
                <a:latin typeface="Arial Rounded MT Bold"/>
              </a:rPr>
              <a:t>Billing - External systems setup preparation and execution</a:t>
            </a:r>
            <a:br>
              <a:rPr lang="en-US" sz="2800">
                <a:solidFill>
                  <a:srgbClr val="FF0000"/>
                </a:solidFill>
                <a:latin typeface="Arial Rounded MT Bold"/>
              </a:rPr>
            </a:br>
            <a:endParaRPr lang="en-US" sz="2800">
              <a:solidFill>
                <a:srgbClr val="FF0000"/>
              </a:solidFill>
              <a:latin typeface="Arial Rounded MT Bold"/>
            </a:endParaRPr>
          </a:p>
        </p:txBody>
      </p:sp>
      <p:sp>
        <p:nvSpPr>
          <p:cNvPr id="8" name="Rectangle 3">
            <a:extLst>
              <a:ext uri="{FF2B5EF4-FFF2-40B4-BE49-F238E27FC236}">
                <a16:creationId xmlns:a16="http://schemas.microsoft.com/office/drawing/2014/main" id="{40103D53-5394-4788-AD58-C22E7DFA8DD3}"/>
              </a:ext>
            </a:extLst>
          </p:cNvPr>
          <p:cNvSpPr>
            <a:spLocks noChangeArrowheads="1"/>
          </p:cNvSpPr>
          <p:nvPr/>
        </p:nvSpPr>
        <p:spPr bwMode="auto">
          <a:xfrm>
            <a:off x="197374" y="126376"/>
            <a:ext cx="12202112" cy="1984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EFABF3EB-E278-40F7-B3E8-1F6C51B3282C}"/>
              </a:ext>
            </a:extLst>
          </p:cNvPr>
          <p:cNvSpPr txBox="1"/>
          <p:nvPr/>
        </p:nvSpPr>
        <p:spPr>
          <a:xfrm>
            <a:off x="828781" y="1118664"/>
            <a:ext cx="11165845" cy="5632311"/>
          </a:xfrm>
          <a:prstGeom prst="rect">
            <a:avLst/>
          </a:prstGeom>
          <a:noFill/>
        </p:spPr>
        <p:txBody>
          <a:bodyPr wrap="square" lIns="91440" tIns="45720" rIns="91440" bIns="45720" rtlCol="0" anchor="t">
            <a:spAutoFit/>
          </a:bodyPr>
          <a:lstStyle/>
          <a:p>
            <a:endParaRPr lang="en-US"/>
          </a:p>
          <a:p>
            <a:r>
              <a:rPr lang="en-US" b="1" u="sng"/>
              <a:t>Sweetener Inbound to BRIM (Sweetener Billing)</a:t>
            </a:r>
            <a:endParaRPr lang="en-US" b="1" u="sng">
              <a:cs typeface="Calibri"/>
            </a:endParaRPr>
          </a:p>
          <a:p>
            <a:pPr marL="285750" indent="-285750">
              <a:buFont typeface="Wingdings" panose="05000000000000000000" pitchFamily="2" charset="2"/>
              <a:buChar char="§"/>
            </a:pPr>
            <a:r>
              <a:rPr lang="en-US"/>
              <a:t>Simulate </a:t>
            </a:r>
            <a:r>
              <a:rPr lang="en-US" b="1"/>
              <a:t>Production IDOC’s </a:t>
            </a:r>
            <a:r>
              <a:rPr lang="en-US"/>
              <a:t>in T48 for ingestion into BRIM</a:t>
            </a:r>
            <a:endParaRPr lang="en-US">
              <a:cs typeface="Calibri"/>
            </a:endParaRPr>
          </a:p>
          <a:p>
            <a:pPr marL="285750" indent="-285750">
              <a:buFont typeface="Wingdings" panose="05000000000000000000" pitchFamily="2" charset="2"/>
              <a:buChar char="§"/>
            </a:pPr>
            <a:r>
              <a:rPr lang="en-US">
                <a:ea typeface="+mn-lt"/>
                <a:cs typeface="+mn-lt"/>
              </a:rPr>
              <a:t>IT Team will coordinate with current support team of T48 and ensure </a:t>
            </a:r>
            <a:r>
              <a:rPr lang="en-US" err="1">
                <a:ea typeface="+mn-lt"/>
                <a:cs typeface="+mn-lt"/>
              </a:rPr>
              <a:t>idocs</a:t>
            </a:r>
            <a:r>
              <a:rPr lang="en-US">
                <a:ea typeface="+mn-lt"/>
                <a:cs typeface="+mn-lt"/>
              </a:rPr>
              <a:t> are processed in BRIM.</a:t>
            </a:r>
          </a:p>
          <a:p>
            <a:pPr marL="285750" indent="-285750">
              <a:buFont typeface="Wingdings" panose="05000000000000000000" pitchFamily="2" charset="2"/>
              <a:buChar char="§"/>
            </a:pPr>
            <a:r>
              <a:rPr lang="en-US">
                <a:ea typeface="+mn-lt"/>
                <a:cs typeface="+mn-lt"/>
              </a:rPr>
              <a:t>Business Team can access, review the data after invoicing just like UAT</a:t>
            </a:r>
          </a:p>
          <a:p>
            <a:r>
              <a:rPr lang="en-US" b="1">
                <a:solidFill>
                  <a:srgbClr val="FF0000"/>
                </a:solidFill>
                <a:cs typeface="Calibri"/>
              </a:rPr>
              <a:t>Note: </a:t>
            </a:r>
            <a:r>
              <a:rPr lang="en-US">
                <a:solidFill>
                  <a:srgbClr val="FF0000"/>
                </a:solidFill>
                <a:cs typeface="Calibri"/>
              </a:rPr>
              <a:t>Not a full E2E process and simulation done in T48 (test). Manual comparison with USA Billing invoices.</a:t>
            </a:r>
            <a:endParaRPr lang="en-US">
              <a:cs typeface="Calibri"/>
            </a:endParaRPr>
          </a:p>
          <a:p>
            <a:pPr marL="285750" indent="-285750">
              <a:buFont typeface="Wingdings" panose="05000000000000000000" pitchFamily="2" charset="2"/>
              <a:buChar char="§"/>
            </a:pPr>
            <a:endParaRPr lang="en-US"/>
          </a:p>
          <a:p>
            <a:r>
              <a:rPr lang="en-US" b="1" u="sng"/>
              <a:t>DXPE Inbound to BRIM (Parts Billing)</a:t>
            </a:r>
            <a:endParaRPr lang="en-US" b="1" u="sng">
              <a:cs typeface="Calibri"/>
            </a:endParaRPr>
          </a:p>
          <a:p>
            <a:pPr marL="285750" indent="-285750">
              <a:buFont typeface="Wingdings,Sans-Serif" panose="05000000000000000000" pitchFamily="2" charset="2"/>
              <a:buChar char="§"/>
            </a:pPr>
            <a:r>
              <a:rPr lang="en-US">
                <a:ea typeface="+mn-lt"/>
                <a:cs typeface="+mn-lt"/>
              </a:rPr>
              <a:t>DXPE will place production parts order file on Azure BLOB.</a:t>
            </a:r>
          </a:p>
          <a:p>
            <a:pPr marL="285750" indent="-285750">
              <a:buFont typeface="Wingdings,Sans-Serif" panose="05000000000000000000" pitchFamily="2" charset="2"/>
              <a:buChar char="§"/>
            </a:pPr>
            <a:r>
              <a:rPr lang="en-US">
                <a:ea typeface="+mn-lt"/>
                <a:cs typeface="+mn-lt"/>
              </a:rPr>
              <a:t>IT will validate the parts order file received from DXPE and ensure they are processed for invoicing.</a:t>
            </a:r>
          </a:p>
          <a:p>
            <a:pPr marL="285750" indent="-285750">
              <a:buFont typeface="Wingdings,Sans-Serif" panose="05000000000000000000" pitchFamily="2" charset="2"/>
              <a:buChar char="§"/>
            </a:pPr>
            <a:r>
              <a:rPr lang="en-US">
                <a:ea typeface="+mn-lt"/>
                <a:cs typeface="+mn-lt"/>
              </a:rPr>
              <a:t>Business to validate &amp; compare the Parts Billing Invoice/AR generated in BRIM vs </a:t>
            </a:r>
            <a:r>
              <a:rPr lang="en-US" err="1">
                <a:ea typeface="+mn-lt"/>
                <a:cs typeface="+mn-lt"/>
              </a:rPr>
              <a:t>Neterprise</a:t>
            </a:r>
            <a:r>
              <a:rPr lang="en-US">
                <a:ea typeface="+mn-lt"/>
                <a:cs typeface="+mn-lt"/>
              </a:rPr>
              <a:t> mainframe solution</a:t>
            </a:r>
          </a:p>
          <a:p>
            <a:r>
              <a:rPr lang="en-US" b="1">
                <a:solidFill>
                  <a:srgbClr val="FF0000"/>
                </a:solidFill>
                <a:cs typeface="Calibri"/>
              </a:rPr>
              <a:t>Note: </a:t>
            </a:r>
            <a:r>
              <a:rPr lang="en-US">
                <a:solidFill>
                  <a:srgbClr val="FF0000"/>
                </a:solidFill>
                <a:cs typeface="Calibri"/>
              </a:rPr>
              <a:t>Parts billing invoice comparison between </a:t>
            </a:r>
            <a:r>
              <a:rPr lang="en-US" err="1">
                <a:solidFill>
                  <a:srgbClr val="FF0000"/>
                </a:solidFill>
                <a:cs typeface="Calibri"/>
              </a:rPr>
              <a:t>Neterprise</a:t>
            </a:r>
            <a:r>
              <a:rPr lang="en-US">
                <a:solidFill>
                  <a:srgbClr val="FF0000"/>
                </a:solidFill>
                <a:cs typeface="Calibri"/>
              </a:rPr>
              <a:t> MF/ USA billing and BRIM. Manual comparison. </a:t>
            </a:r>
          </a:p>
          <a:p>
            <a:endParaRPr lang="en-US">
              <a:solidFill>
                <a:srgbClr val="FF0000"/>
              </a:solidFill>
              <a:cs typeface="Calibri"/>
            </a:endParaRPr>
          </a:p>
          <a:p>
            <a:r>
              <a:rPr lang="en-US" b="1" u="sng"/>
              <a:t>Warranty processing in BRIM (Warranty Claims)</a:t>
            </a:r>
            <a:endParaRPr lang="en-US" b="1" u="sng">
              <a:cs typeface="Calibri"/>
            </a:endParaRPr>
          </a:p>
          <a:p>
            <a:pPr marL="285750" indent="-285750">
              <a:buFont typeface="Wingdings,Sans-Serif" panose="05000000000000000000" pitchFamily="2" charset="2"/>
              <a:buChar char="§"/>
            </a:pPr>
            <a:r>
              <a:rPr lang="en-US">
                <a:ea typeface="+mn-lt"/>
                <a:cs typeface="+mn-lt"/>
              </a:rPr>
              <a:t>??</a:t>
            </a:r>
          </a:p>
          <a:p>
            <a:pPr marL="285750" indent="-285750">
              <a:buFont typeface="Wingdings,Sans-Serif" panose="05000000000000000000" pitchFamily="2" charset="2"/>
              <a:buChar char="§"/>
            </a:pPr>
            <a:r>
              <a:rPr lang="en-US">
                <a:ea typeface="+mn-lt"/>
                <a:cs typeface="+mn-lt"/>
              </a:rPr>
              <a:t>??</a:t>
            </a:r>
          </a:p>
          <a:p>
            <a:r>
              <a:rPr lang="en-US" b="1">
                <a:solidFill>
                  <a:srgbClr val="FF0000"/>
                </a:solidFill>
                <a:cs typeface="Calibri"/>
              </a:rPr>
              <a:t>Note: </a:t>
            </a:r>
            <a:r>
              <a:rPr lang="en-US">
                <a:solidFill>
                  <a:srgbClr val="FF0000"/>
                </a:solidFill>
                <a:cs typeface="Calibri"/>
              </a:rPr>
              <a:t>Warranty process in BRIM to be manually compared  with </a:t>
            </a:r>
            <a:r>
              <a:rPr lang="en-US" err="1">
                <a:solidFill>
                  <a:srgbClr val="FF0000"/>
                </a:solidFill>
                <a:cs typeface="Calibri"/>
              </a:rPr>
              <a:t>McBilling</a:t>
            </a:r>
            <a:endParaRPr lang="en-US">
              <a:solidFill>
                <a:srgbClr val="FF0000"/>
              </a:solidFill>
              <a:cs typeface="Calibri"/>
            </a:endParaRPr>
          </a:p>
          <a:p>
            <a:endParaRPr lang="en-US">
              <a:solidFill>
                <a:srgbClr val="FF0000"/>
              </a:solidFill>
              <a:cs typeface="Calibri"/>
            </a:endParaRPr>
          </a:p>
          <a:p>
            <a:endParaRPr lang="en-US"/>
          </a:p>
          <a:p>
            <a:endParaRPr lang="en-US"/>
          </a:p>
        </p:txBody>
      </p:sp>
    </p:spTree>
    <p:extLst>
      <p:ext uri="{BB962C8B-B14F-4D97-AF65-F5344CB8AC3E}">
        <p14:creationId xmlns:p14="http://schemas.microsoft.com/office/powerpoint/2010/main" val="3521855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809" y="528516"/>
            <a:ext cx="10832410" cy="959790"/>
          </a:xfrm>
        </p:spPr>
        <p:txBody>
          <a:bodyPr>
            <a:normAutofit fontScale="90000"/>
          </a:bodyPr>
          <a:lstStyle/>
          <a:p>
            <a:r>
              <a:rPr lang="en-US" sz="3100">
                <a:solidFill>
                  <a:srgbClr val="FF0000"/>
                </a:solidFill>
                <a:latin typeface="Arial Rounded MT Bold"/>
              </a:rPr>
              <a:t>Billing - External systems setup preparation and execution</a:t>
            </a:r>
            <a:br>
              <a:rPr lang="en-US" sz="3600">
                <a:solidFill>
                  <a:srgbClr val="FF0000"/>
                </a:solidFill>
                <a:latin typeface="Arial Rounded MT Bold" panose="020F0704030504030204" pitchFamily="34" charset="0"/>
              </a:rPr>
            </a:br>
            <a:endParaRPr lang="en-US" sz="3600">
              <a:solidFill>
                <a:srgbClr val="FF0000"/>
              </a:solidFill>
              <a:latin typeface="Arial Narrow" panose="020B0606020202030204" pitchFamily="34" charset="0"/>
            </a:endParaRPr>
          </a:p>
        </p:txBody>
      </p:sp>
      <p:sp>
        <p:nvSpPr>
          <p:cNvPr id="88" name="ZoneTexte 27">
            <a:extLst>
              <a:ext uri="{FF2B5EF4-FFF2-40B4-BE49-F238E27FC236}">
                <a16:creationId xmlns:a16="http://schemas.microsoft.com/office/drawing/2014/main" id="{D8F9E93E-21FD-4DBB-B873-51350F2AA214}"/>
              </a:ext>
            </a:extLst>
          </p:cNvPr>
          <p:cNvSpPr txBox="1">
            <a:spLocks noChangeArrowheads="1"/>
          </p:cNvSpPr>
          <p:nvPr/>
        </p:nvSpPr>
        <p:spPr bwMode="auto">
          <a:xfrm>
            <a:off x="6563174" y="4017871"/>
            <a:ext cx="3872740" cy="1725924"/>
          </a:xfrm>
          <a:prstGeom prst="rect">
            <a:avLst/>
          </a:prstGeom>
          <a:noFill/>
          <a:ln w="9525">
            <a:noFill/>
            <a:miter lim="800000"/>
            <a:headEnd/>
            <a:tailEnd/>
          </a:ln>
        </p:spPr>
        <p:txBody>
          <a:bodyPr/>
          <a:lstStyle/>
          <a:p>
            <a:pPr marL="0" lvl="1" defTabSz="844083" fontAlgn="base">
              <a:spcAft>
                <a:spcPts val="300"/>
              </a:spcAft>
              <a:buClr>
                <a:srgbClr val="0070AD"/>
              </a:buClr>
              <a:buSzPct val="100000"/>
              <a:defRPr/>
            </a:pPr>
            <a:endParaRPr lang="en-US" sz="1100">
              <a:solidFill>
                <a:prstClr val="black"/>
              </a:solidFill>
              <a:latin typeface="Verdana" panose="020B0604030504040204" pitchFamily="34" charset="0"/>
              <a:cs typeface="Arial" panose="020B0604020202020204" pitchFamily="34" charset="0"/>
            </a:endParaRPr>
          </a:p>
        </p:txBody>
      </p:sp>
      <p:sp>
        <p:nvSpPr>
          <p:cNvPr id="8" name="Rectangle 3">
            <a:extLst>
              <a:ext uri="{FF2B5EF4-FFF2-40B4-BE49-F238E27FC236}">
                <a16:creationId xmlns:a16="http://schemas.microsoft.com/office/drawing/2014/main" id="{40103D53-5394-4788-AD58-C22E7DFA8DD3}"/>
              </a:ext>
            </a:extLst>
          </p:cNvPr>
          <p:cNvSpPr>
            <a:spLocks noChangeArrowheads="1"/>
          </p:cNvSpPr>
          <p:nvPr/>
        </p:nvSpPr>
        <p:spPr bwMode="auto">
          <a:xfrm>
            <a:off x="197374" y="126376"/>
            <a:ext cx="12202112" cy="1984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EFABF3EB-E278-40F7-B3E8-1F6C51B3282C}"/>
              </a:ext>
            </a:extLst>
          </p:cNvPr>
          <p:cNvSpPr txBox="1"/>
          <p:nvPr/>
        </p:nvSpPr>
        <p:spPr>
          <a:xfrm>
            <a:off x="677328" y="1114205"/>
            <a:ext cx="10945148" cy="4801314"/>
          </a:xfrm>
          <a:prstGeom prst="rect">
            <a:avLst/>
          </a:prstGeom>
          <a:noFill/>
        </p:spPr>
        <p:txBody>
          <a:bodyPr wrap="square" lIns="91440" tIns="45720" rIns="91440" bIns="45720" rtlCol="0" anchor="t">
            <a:spAutoFit/>
          </a:bodyPr>
          <a:lstStyle/>
          <a:p>
            <a:r>
              <a:rPr lang="en-US" b="1" u="sng"/>
              <a:t>Teradata Inbound to BRIM (Agency Fee Payments)</a:t>
            </a:r>
            <a:endParaRPr lang="en-US" b="1" u="sng">
              <a:cs typeface="Calibri"/>
            </a:endParaRPr>
          </a:p>
          <a:p>
            <a:pPr marL="285750" indent="-285750">
              <a:buFont typeface="Wingdings" panose="05000000000000000000" pitchFamily="2" charset="2"/>
              <a:buChar char="§"/>
            </a:pPr>
            <a:r>
              <a:rPr lang="en-US"/>
              <a:t>Teradata QA will be refreshed with Production data Jan 8</a:t>
            </a:r>
            <a:r>
              <a:rPr lang="en-US" baseline="30000"/>
              <a:t>th</a:t>
            </a:r>
            <a:r>
              <a:rPr lang="en-US"/>
              <a:t>, 2023</a:t>
            </a:r>
            <a:endParaRPr lang="en-US">
              <a:cs typeface="Calibri"/>
            </a:endParaRPr>
          </a:p>
          <a:p>
            <a:pPr marL="285750" indent="-285750">
              <a:buFont typeface="Wingdings" panose="05000000000000000000" pitchFamily="2" charset="2"/>
              <a:buChar char="§"/>
            </a:pPr>
            <a:r>
              <a:rPr lang="en-US">
                <a:cs typeface="Calibri"/>
              </a:rPr>
              <a:t>BRIM Pre-Prod through CM/NAS Mount and pull the required volume data from Teradata QA for agency Fee</a:t>
            </a:r>
          </a:p>
          <a:p>
            <a:pPr marL="285750" indent="-285750">
              <a:buFont typeface="Wingdings" panose="05000000000000000000" pitchFamily="2" charset="2"/>
              <a:buChar char="§"/>
            </a:pPr>
            <a:r>
              <a:rPr lang="en-US">
                <a:cs typeface="Calibri"/>
              </a:rPr>
              <a:t>Daily agency delivered volume processed by BRIM</a:t>
            </a:r>
            <a:endParaRPr lang="en-US"/>
          </a:p>
          <a:p>
            <a:pPr marL="285750" indent="-285750">
              <a:buFont typeface="Arial" panose="05000000000000000000" pitchFamily="2" charset="2"/>
              <a:buChar char="•"/>
            </a:pPr>
            <a:r>
              <a:rPr lang="en-US"/>
              <a:t>Business to validate &amp; compare the agency fee payment calculation in BRIM vs mainframe solution</a:t>
            </a:r>
            <a:endParaRPr lang="en-US">
              <a:cs typeface="Calibri"/>
            </a:endParaRPr>
          </a:p>
          <a:p>
            <a:r>
              <a:rPr lang="en-US" b="1">
                <a:solidFill>
                  <a:srgbClr val="FF0000"/>
                </a:solidFill>
                <a:cs typeface="Calibri"/>
              </a:rPr>
              <a:t>Note: </a:t>
            </a:r>
            <a:r>
              <a:rPr lang="en-US">
                <a:solidFill>
                  <a:srgbClr val="FF0000"/>
                </a:solidFill>
                <a:cs typeface="Calibri"/>
              </a:rPr>
              <a:t>Manual comparison. Legacy payments report with BRIM PBI report</a:t>
            </a:r>
          </a:p>
          <a:p>
            <a:endParaRPr lang="en-US">
              <a:ea typeface="+mn-lt"/>
              <a:cs typeface="+mn-lt"/>
            </a:endParaRPr>
          </a:p>
          <a:p>
            <a:r>
              <a:rPr lang="en-US" b="1" u="sng" err="1"/>
              <a:t>Billtrust</a:t>
            </a:r>
            <a:r>
              <a:rPr lang="en-US" b="1" u="sng"/>
              <a:t> Outbound from BRIM (Invoices)</a:t>
            </a:r>
            <a:endParaRPr lang="en-US" b="1" u="sng">
              <a:cs typeface="Calibri"/>
            </a:endParaRPr>
          </a:p>
          <a:p>
            <a:pPr marL="285750" indent="-285750">
              <a:buFont typeface="Wingdings" panose="05000000000000000000" pitchFamily="2" charset="2"/>
              <a:buChar char="§"/>
            </a:pPr>
            <a:r>
              <a:rPr lang="en-US">
                <a:cs typeface="Calibri"/>
              </a:rPr>
              <a:t>Billing invoices generated as part of parallel processing testing will be sent to Bill Trust UAT system.</a:t>
            </a:r>
          </a:p>
          <a:p>
            <a:pPr marL="285750" indent="-285750">
              <a:buFont typeface="Wingdings" panose="05000000000000000000" pitchFamily="2" charset="2"/>
              <a:buChar char="§"/>
            </a:pPr>
            <a:r>
              <a:rPr lang="en-US"/>
              <a:t>Business will review the invoice correspondence output generated from BRIM system.</a:t>
            </a:r>
            <a:endParaRPr lang="en-US">
              <a:cs typeface="Calibri"/>
            </a:endParaRPr>
          </a:p>
          <a:p>
            <a:r>
              <a:rPr lang="en-US" b="1">
                <a:solidFill>
                  <a:srgbClr val="FF0000"/>
                </a:solidFill>
                <a:cs typeface="Calibri"/>
              </a:rPr>
              <a:t>Note: </a:t>
            </a:r>
            <a:r>
              <a:rPr lang="en-US">
                <a:solidFill>
                  <a:srgbClr val="FF0000"/>
                </a:solidFill>
                <a:cs typeface="Calibri"/>
              </a:rPr>
              <a:t>Will do a manual comparison for some key customers (</a:t>
            </a:r>
            <a:r>
              <a:rPr lang="en-US" err="1">
                <a:solidFill>
                  <a:srgbClr val="FF0000"/>
                </a:solidFill>
                <a:cs typeface="Calibri"/>
              </a:rPr>
              <a:t>Billtrust</a:t>
            </a:r>
            <a:r>
              <a:rPr lang="en-US">
                <a:solidFill>
                  <a:srgbClr val="FF0000"/>
                </a:solidFill>
                <a:cs typeface="Calibri"/>
              </a:rPr>
              <a:t> Portal UAT and PROD)</a:t>
            </a:r>
          </a:p>
          <a:p>
            <a:endParaRPr lang="en-US">
              <a:solidFill>
                <a:srgbClr val="FF0000"/>
              </a:solidFill>
              <a:cs typeface="Calibri"/>
            </a:endParaRPr>
          </a:p>
          <a:p>
            <a:r>
              <a:rPr lang="en-US" b="1" u="sng" err="1"/>
              <a:t>Opentext</a:t>
            </a:r>
            <a:r>
              <a:rPr lang="en-US" b="1" u="sng"/>
              <a:t> Outbound from BRIM (Invoices)</a:t>
            </a:r>
            <a:endParaRPr lang="en-US" b="1" u="sng">
              <a:cs typeface="Calibri"/>
            </a:endParaRPr>
          </a:p>
          <a:p>
            <a:pPr marL="285750" indent="-285750">
              <a:buFont typeface="Wingdings,Sans-Serif" panose="05000000000000000000" pitchFamily="2" charset="2"/>
              <a:buChar char="§"/>
            </a:pPr>
            <a:r>
              <a:rPr lang="en-US">
                <a:ea typeface="+mn-lt"/>
                <a:cs typeface="+mn-lt"/>
              </a:rPr>
              <a:t>Billing invoices generated for EDI scenario in parallel processing testing  will be sent to OpenText UAT system.</a:t>
            </a:r>
          </a:p>
          <a:p>
            <a:pPr marL="285750" indent="-285750">
              <a:buFont typeface="Wingdings,Sans-Serif" panose="05000000000000000000" pitchFamily="2" charset="2"/>
              <a:buChar char="§"/>
            </a:pPr>
            <a:r>
              <a:rPr lang="en-US">
                <a:ea typeface="+mn-lt"/>
                <a:cs typeface="+mn-lt"/>
              </a:rPr>
              <a:t>Business will validate the invoice correspondence output generated from BRIM system in Lens.</a:t>
            </a:r>
          </a:p>
          <a:p>
            <a:r>
              <a:rPr lang="en-US" b="1">
                <a:solidFill>
                  <a:srgbClr val="FF0000"/>
                </a:solidFill>
                <a:cs typeface="Calibri"/>
              </a:rPr>
              <a:t>Note: </a:t>
            </a:r>
            <a:r>
              <a:rPr lang="en-US">
                <a:solidFill>
                  <a:srgbClr val="FF0000"/>
                </a:solidFill>
                <a:cs typeface="Calibri"/>
              </a:rPr>
              <a:t>Will do manual comparison for some key customers. (Lens UAT and Lens PROD)</a:t>
            </a:r>
            <a:endParaRPr lang="en-US">
              <a:solidFill>
                <a:srgbClr val="FF0000"/>
              </a:solidFill>
              <a:ea typeface="+mn-lt"/>
              <a:cs typeface="Calibri"/>
            </a:endParaRPr>
          </a:p>
          <a:p>
            <a:endParaRPr lang="en-US">
              <a:ea typeface="+mn-lt"/>
              <a:cs typeface="+mn-lt"/>
            </a:endParaRPr>
          </a:p>
        </p:txBody>
      </p:sp>
    </p:spTree>
    <p:extLst>
      <p:ext uri="{BB962C8B-B14F-4D97-AF65-F5344CB8AC3E}">
        <p14:creationId xmlns:p14="http://schemas.microsoft.com/office/powerpoint/2010/main" val="3309830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809" y="528516"/>
            <a:ext cx="10832410" cy="959790"/>
          </a:xfrm>
        </p:spPr>
        <p:txBody>
          <a:bodyPr>
            <a:normAutofit fontScale="90000"/>
          </a:bodyPr>
          <a:lstStyle/>
          <a:p>
            <a:r>
              <a:rPr lang="en-US" sz="2800">
                <a:solidFill>
                  <a:srgbClr val="FF0000"/>
                </a:solidFill>
                <a:latin typeface="Arial Rounded MT Bold"/>
              </a:rPr>
              <a:t>Reimbursement - External systems setup preparation and execution</a:t>
            </a:r>
            <a:br>
              <a:rPr lang="en-US" sz="3600">
                <a:solidFill>
                  <a:srgbClr val="FF0000"/>
                </a:solidFill>
                <a:latin typeface="Arial Rounded MT Bold" panose="020F0704030504030204" pitchFamily="34" charset="0"/>
              </a:rPr>
            </a:br>
            <a:endParaRPr lang="en-US" sz="3600">
              <a:solidFill>
                <a:srgbClr val="FF0000"/>
              </a:solidFill>
              <a:latin typeface="Arial Narrow" panose="020B0606020202030204" pitchFamily="34" charset="0"/>
            </a:endParaRPr>
          </a:p>
        </p:txBody>
      </p:sp>
      <p:sp>
        <p:nvSpPr>
          <p:cNvPr id="88" name="ZoneTexte 27">
            <a:extLst>
              <a:ext uri="{FF2B5EF4-FFF2-40B4-BE49-F238E27FC236}">
                <a16:creationId xmlns:a16="http://schemas.microsoft.com/office/drawing/2014/main" id="{D8F9E93E-21FD-4DBB-B873-51350F2AA214}"/>
              </a:ext>
            </a:extLst>
          </p:cNvPr>
          <p:cNvSpPr txBox="1">
            <a:spLocks noChangeArrowheads="1"/>
          </p:cNvSpPr>
          <p:nvPr/>
        </p:nvSpPr>
        <p:spPr bwMode="auto">
          <a:xfrm>
            <a:off x="6563174" y="4017871"/>
            <a:ext cx="3872740" cy="1725924"/>
          </a:xfrm>
          <a:prstGeom prst="rect">
            <a:avLst/>
          </a:prstGeom>
          <a:noFill/>
          <a:ln w="9525">
            <a:noFill/>
            <a:miter lim="800000"/>
            <a:headEnd/>
            <a:tailEnd/>
          </a:ln>
        </p:spPr>
        <p:txBody>
          <a:bodyPr/>
          <a:lstStyle/>
          <a:p>
            <a:pPr marL="0" lvl="1" defTabSz="844083" fontAlgn="base">
              <a:spcAft>
                <a:spcPts val="300"/>
              </a:spcAft>
              <a:buClr>
                <a:srgbClr val="0070AD"/>
              </a:buClr>
              <a:buSzPct val="100000"/>
              <a:defRPr/>
            </a:pPr>
            <a:endParaRPr lang="en-US" sz="1100">
              <a:solidFill>
                <a:prstClr val="black"/>
              </a:solidFill>
              <a:latin typeface="Verdana" panose="020B0604030504040204" pitchFamily="34" charset="0"/>
              <a:cs typeface="Arial" panose="020B0604020202020204" pitchFamily="34" charset="0"/>
            </a:endParaRPr>
          </a:p>
        </p:txBody>
      </p:sp>
      <p:sp>
        <p:nvSpPr>
          <p:cNvPr id="8" name="Rectangle 3">
            <a:extLst>
              <a:ext uri="{FF2B5EF4-FFF2-40B4-BE49-F238E27FC236}">
                <a16:creationId xmlns:a16="http://schemas.microsoft.com/office/drawing/2014/main" id="{40103D53-5394-4788-AD58-C22E7DFA8DD3}"/>
              </a:ext>
            </a:extLst>
          </p:cNvPr>
          <p:cNvSpPr>
            <a:spLocks noChangeArrowheads="1"/>
          </p:cNvSpPr>
          <p:nvPr/>
        </p:nvSpPr>
        <p:spPr bwMode="auto">
          <a:xfrm>
            <a:off x="197374" y="126376"/>
            <a:ext cx="12202112" cy="1984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EFABF3EB-E278-40F7-B3E8-1F6C51B3282C}"/>
              </a:ext>
            </a:extLst>
          </p:cNvPr>
          <p:cNvSpPr txBox="1"/>
          <p:nvPr/>
        </p:nvSpPr>
        <p:spPr>
          <a:xfrm>
            <a:off x="677328" y="1114205"/>
            <a:ext cx="10945148" cy="3970318"/>
          </a:xfrm>
          <a:prstGeom prst="rect">
            <a:avLst/>
          </a:prstGeom>
          <a:noFill/>
        </p:spPr>
        <p:txBody>
          <a:bodyPr wrap="square" lIns="91440" tIns="45720" rIns="91440" bIns="45720" rtlCol="0" anchor="t">
            <a:spAutoFit/>
          </a:bodyPr>
          <a:lstStyle/>
          <a:p>
            <a:r>
              <a:rPr lang="en-US" b="1" u="sng"/>
              <a:t>Teradata Inbound to BRIM (volume data for Scorecards)</a:t>
            </a:r>
            <a:endParaRPr lang="en-US" b="1" u="sng">
              <a:cs typeface="Calibri"/>
            </a:endParaRPr>
          </a:p>
          <a:p>
            <a:pPr marL="285750" indent="-285750">
              <a:buFont typeface="Wingdings" panose="05000000000000000000" pitchFamily="2" charset="2"/>
              <a:buChar char="§"/>
            </a:pPr>
            <a:r>
              <a:rPr lang="en-US"/>
              <a:t>Teradata QA will be refreshed with Production data Jan 8</a:t>
            </a:r>
            <a:r>
              <a:rPr lang="en-US" baseline="30000"/>
              <a:t>th</a:t>
            </a:r>
            <a:r>
              <a:rPr lang="en-US"/>
              <a:t>, 2023</a:t>
            </a:r>
            <a:endParaRPr lang="en-US">
              <a:cs typeface="Calibri"/>
            </a:endParaRPr>
          </a:p>
          <a:p>
            <a:pPr marL="285750" indent="-285750">
              <a:buFont typeface="Wingdings" panose="05000000000000000000" pitchFamily="2" charset="2"/>
              <a:buChar char="§"/>
            </a:pPr>
            <a:r>
              <a:rPr lang="en-US">
                <a:cs typeface="Calibri"/>
              </a:rPr>
              <a:t>BRIM Pre-Prod through CM/NAS Mount and pull the required volume data from Teradata QA for reimbursement.</a:t>
            </a:r>
            <a:endParaRPr lang="en-US"/>
          </a:p>
          <a:p>
            <a:pPr marL="285750" indent="-285750">
              <a:buFont typeface="Arial" panose="05000000000000000000" pitchFamily="2" charset="2"/>
              <a:buChar char="•"/>
            </a:pPr>
            <a:r>
              <a:rPr lang="en-US">
                <a:ea typeface="+mn-lt"/>
                <a:cs typeface="+mn-lt"/>
              </a:rPr>
              <a:t>IT will initiate Q4 volume pull request for reimbursement customers which are in scope for parallel processing.</a:t>
            </a:r>
          </a:p>
          <a:p>
            <a:pPr marL="742950" lvl="3" indent="-285750">
              <a:buFont typeface="Arial" panose="05000000000000000000" pitchFamily="2" charset="2"/>
              <a:buChar char="•"/>
            </a:pPr>
            <a:r>
              <a:rPr lang="en-US">
                <a:ea typeface="+mn-lt"/>
                <a:cs typeface="+mn-lt"/>
              </a:rPr>
              <a:t>The Q4 volume pull includes all the required frequencies (annual, semi-annual, quarterly, monthly) and will comprise data as per the following:</a:t>
            </a:r>
          </a:p>
          <a:p>
            <a:pPr marL="1200150" lvl="5" indent="-285750">
              <a:buFont typeface="Arial" panose="05000000000000000000" pitchFamily="2" charset="2"/>
              <a:buChar char="•"/>
            </a:pPr>
            <a:r>
              <a:rPr lang="en-US">
                <a:ea typeface="+mn-lt"/>
                <a:cs typeface="+mn-lt"/>
              </a:rPr>
              <a:t>Annual: Full year 2022 </a:t>
            </a:r>
          </a:p>
          <a:p>
            <a:pPr marL="1200150" lvl="5" indent="-285750">
              <a:buFont typeface="Arial" panose="05000000000000000000" pitchFamily="2" charset="2"/>
              <a:buChar char="•"/>
            </a:pPr>
            <a:r>
              <a:rPr lang="en-US">
                <a:ea typeface="+mn-lt"/>
                <a:cs typeface="+mn-lt"/>
              </a:rPr>
              <a:t>Semi-annual: H2 2022</a:t>
            </a:r>
          </a:p>
          <a:p>
            <a:pPr marL="1200150" lvl="5" indent="-285750">
              <a:buFont typeface="Arial" panose="05000000000000000000" pitchFamily="2" charset="2"/>
              <a:buChar char="•"/>
            </a:pPr>
            <a:r>
              <a:rPr lang="en-US">
                <a:ea typeface="+mn-lt"/>
                <a:cs typeface="+mn-lt"/>
              </a:rPr>
              <a:t>Quarterly: Q4 2022</a:t>
            </a:r>
          </a:p>
          <a:p>
            <a:pPr marL="1200150" lvl="5" indent="-285750">
              <a:buFont typeface="Arial" panose="05000000000000000000" pitchFamily="2" charset="2"/>
              <a:buChar char="•"/>
            </a:pPr>
            <a:r>
              <a:rPr lang="en-US">
                <a:ea typeface="+mn-lt"/>
                <a:cs typeface="+mn-lt"/>
              </a:rPr>
              <a:t>Monthly: Oct 2022, Nov 2022, Dec 2022</a:t>
            </a:r>
            <a:endParaRPr lang="en-US"/>
          </a:p>
          <a:p>
            <a:pPr marL="285750" indent="-285750">
              <a:buFont typeface="Arial" panose="05000000000000000000" pitchFamily="2" charset="2"/>
              <a:buChar char="•"/>
            </a:pPr>
            <a:r>
              <a:rPr lang="en-US">
                <a:cs typeface="Calibri"/>
              </a:rPr>
              <a:t>IT will generate Q4 scorecard for parallel processing reimbursement customers</a:t>
            </a:r>
            <a:endParaRPr lang="en-US"/>
          </a:p>
          <a:p>
            <a:pPr marL="285750" indent="-285750">
              <a:buFont typeface="Arial" panose="05000000000000000000" pitchFamily="2" charset="2"/>
              <a:buChar char="•"/>
            </a:pPr>
            <a:r>
              <a:rPr lang="en-US"/>
              <a:t>Business to validate &amp; compare the reimbursement &amp; agency fee calculation in BRIM vs mainframe solution</a:t>
            </a:r>
            <a:endParaRPr lang="en-US">
              <a:cs typeface="Calibri"/>
            </a:endParaRPr>
          </a:p>
          <a:p>
            <a:r>
              <a:rPr lang="en-US" b="1">
                <a:solidFill>
                  <a:srgbClr val="FF0000"/>
                </a:solidFill>
                <a:cs typeface="Calibri"/>
              </a:rPr>
              <a:t>Note: </a:t>
            </a:r>
            <a:r>
              <a:rPr lang="en-US">
                <a:solidFill>
                  <a:srgbClr val="FF0000"/>
                </a:solidFill>
                <a:cs typeface="Calibri"/>
              </a:rPr>
              <a:t>Scorecard MF and BRIM comparison. Manual comparison and we will explore ways to extract and automate in PBI</a:t>
            </a:r>
            <a:endParaRPr lang="en-US">
              <a:ea typeface="+mn-lt"/>
              <a:cs typeface="+mn-lt"/>
            </a:endParaRPr>
          </a:p>
        </p:txBody>
      </p:sp>
    </p:spTree>
    <p:extLst>
      <p:ext uri="{BB962C8B-B14F-4D97-AF65-F5344CB8AC3E}">
        <p14:creationId xmlns:p14="http://schemas.microsoft.com/office/powerpoint/2010/main" val="37739418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809" y="528516"/>
            <a:ext cx="10832410" cy="959790"/>
          </a:xfrm>
        </p:spPr>
        <p:txBody>
          <a:bodyPr>
            <a:normAutofit fontScale="90000"/>
          </a:bodyPr>
          <a:lstStyle/>
          <a:p>
            <a:r>
              <a:rPr lang="en-US" sz="2800">
                <a:solidFill>
                  <a:srgbClr val="FF0000"/>
                </a:solidFill>
                <a:latin typeface="Arial Rounded MT Bold"/>
              </a:rPr>
              <a:t>Reimbursement - External systems setup preparation and execution</a:t>
            </a:r>
            <a:br>
              <a:rPr lang="en-US" sz="2800">
                <a:solidFill>
                  <a:srgbClr val="FF0000"/>
                </a:solidFill>
                <a:latin typeface="Arial Rounded MT Bold"/>
              </a:rPr>
            </a:br>
            <a:endParaRPr lang="en-US" sz="2800">
              <a:solidFill>
                <a:srgbClr val="FF0000"/>
              </a:solidFill>
              <a:latin typeface="Arial Rounded MT Bold"/>
            </a:endParaRPr>
          </a:p>
        </p:txBody>
      </p:sp>
      <p:sp>
        <p:nvSpPr>
          <p:cNvPr id="8" name="Rectangle 3">
            <a:extLst>
              <a:ext uri="{FF2B5EF4-FFF2-40B4-BE49-F238E27FC236}">
                <a16:creationId xmlns:a16="http://schemas.microsoft.com/office/drawing/2014/main" id="{40103D53-5394-4788-AD58-C22E7DFA8DD3}"/>
              </a:ext>
            </a:extLst>
          </p:cNvPr>
          <p:cNvSpPr>
            <a:spLocks noChangeArrowheads="1"/>
          </p:cNvSpPr>
          <p:nvPr/>
        </p:nvSpPr>
        <p:spPr bwMode="auto">
          <a:xfrm>
            <a:off x="197374" y="126376"/>
            <a:ext cx="12202112" cy="1984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TextBox 2">
            <a:extLst>
              <a:ext uri="{FF2B5EF4-FFF2-40B4-BE49-F238E27FC236}">
                <a16:creationId xmlns:a16="http://schemas.microsoft.com/office/drawing/2014/main" id="{0E70FCB1-08AA-57C0-282C-640E17AA8670}"/>
              </a:ext>
            </a:extLst>
          </p:cNvPr>
          <p:cNvSpPr txBox="1"/>
          <p:nvPr/>
        </p:nvSpPr>
        <p:spPr>
          <a:xfrm>
            <a:off x="660401" y="1488306"/>
            <a:ext cx="11357112"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Segoe UI"/>
              </a:rPr>
              <a:t>​​</a:t>
            </a:r>
            <a:r>
              <a:rPr lang="en-US" b="1" u="sng">
                <a:cs typeface="Segoe UI"/>
              </a:rPr>
              <a:t>KOAR/BRIM - Inbound/Outbound​ (COA to drive approval process for Scorecard)</a:t>
            </a:r>
          </a:p>
          <a:p>
            <a:pPr>
              <a:buChar char="•"/>
            </a:pPr>
            <a:r>
              <a:rPr lang="en-US">
                <a:ea typeface="+mn-lt"/>
                <a:cs typeface="+mn-lt"/>
              </a:rPr>
              <a:t> IT team will coordinate with KOAR team to send BP sales hierarchy &amp; cost center data of parallel processing customers.</a:t>
            </a:r>
          </a:p>
          <a:p>
            <a:pPr>
              <a:buChar char="•"/>
            </a:pPr>
            <a:r>
              <a:rPr lang="en-US">
                <a:ea typeface="+mn-lt"/>
                <a:cs typeface="+mn-lt"/>
              </a:rPr>
              <a:t> Business will coordinate with KOAR team to fill up COA approval template for various reimbursement approval scenarios.</a:t>
            </a:r>
          </a:p>
          <a:p>
            <a:pPr marL="285750" indent="-285750">
              <a:buFont typeface="Wingdings" panose="05000000000000000000" pitchFamily="2" charset="2"/>
              <a:buChar char="§"/>
            </a:pPr>
            <a:r>
              <a:rPr lang="en-US">
                <a:ea typeface="+mn-lt"/>
                <a:cs typeface="+mn-lt"/>
              </a:rPr>
              <a:t>IT will coordinate with KOAR team to load the reimbursement COA approval hierarchies in KOAR and download the data in BRIM.</a:t>
            </a:r>
          </a:p>
          <a:p>
            <a:r>
              <a:rPr lang="en-US" b="1">
                <a:solidFill>
                  <a:srgbClr val="FF0000"/>
                </a:solidFill>
                <a:ea typeface="+mn-lt"/>
                <a:cs typeface="+mn-lt"/>
              </a:rPr>
              <a:t>Note: </a:t>
            </a:r>
            <a:r>
              <a:rPr lang="en-US">
                <a:solidFill>
                  <a:srgbClr val="FF0000"/>
                </a:solidFill>
                <a:ea typeface="+mn-lt"/>
                <a:cs typeface="+mn-lt"/>
              </a:rPr>
              <a:t>There is no expectation for business to perform a comparison of KOAR.  </a:t>
            </a:r>
            <a:r>
              <a:rPr lang="en-US" b="1">
                <a:solidFill>
                  <a:srgbClr val="FF0000"/>
                </a:solidFill>
                <a:ea typeface="+mn-lt"/>
                <a:cs typeface="+mn-lt"/>
              </a:rPr>
              <a:t>This is a setup activity.</a:t>
            </a:r>
            <a:r>
              <a:rPr lang="en-US">
                <a:solidFill>
                  <a:srgbClr val="FF0000"/>
                </a:solidFill>
                <a:ea typeface="+mn-lt"/>
                <a:cs typeface="+mn-lt"/>
              </a:rPr>
              <a:t>  </a:t>
            </a:r>
          </a:p>
          <a:p>
            <a:endParaRPr lang="en-US">
              <a:solidFill>
                <a:srgbClr val="FF0000"/>
              </a:solidFill>
              <a:ea typeface="+mn-lt"/>
              <a:cs typeface="+mn-lt"/>
            </a:endParaRPr>
          </a:p>
          <a:p>
            <a:r>
              <a:rPr lang="en-US" b="1" u="sng">
                <a:cs typeface="Segoe UI"/>
              </a:rPr>
              <a:t>Deductions Inbound​ to BRIM (Deduction upload from file)</a:t>
            </a:r>
          </a:p>
          <a:p>
            <a:pPr>
              <a:buFont typeface="Arial"/>
              <a:buChar char="•"/>
            </a:pPr>
            <a:r>
              <a:rPr lang="en-US">
                <a:cs typeface="Arial"/>
              </a:rPr>
              <a:t> IT team will coordinate with mainframe support team to get the existing Q4 2022 open deduction data file.</a:t>
            </a:r>
            <a:endParaRPr lang="en-US"/>
          </a:p>
          <a:p>
            <a:pPr>
              <a:buChar char="•"/>
            </a:pPr>
            <a:r>
              <a:rPr lang="en-US">
                <a:cs typeface="Arial"/>
              </a:rPr>
              <a:t> IT team will load the deduction data into BRIM system.</a:t>
            </a:r>
          </a:p>
          <a:p>
            <a:pPr>
              <a:buFont typeface="Arial"/>
              <a:buChar char="•"/>
            </a:pPr>
            <a:r>
              <a:rPr lang="en-US">
                <a:ea typeface="+mn-lt"/>
                <a:cs typeface="+mn-lt"/>
              </a:rPr>
              <a:t> Business team will validate the open deduction data before scorecard generation.</a:t>
            </a:r>
          </a:p>
          <a:p>
            <a:r>
              <a:rPr lang="en-US" b="1">
                <a:solidFill>
                  <a:srgbClr val="FF0000"/>
                </a:solidFill>
                <a:cs typeface="Calibri"/>
              </a:rPr>
              <a:t>Note: </a:t>
            </a:r>
            <a:r>
              <a:rPr lang="en-US">
                <a:solidFill>
                  <a:srgbClr val="FF0000"/>
                </a:solidFill>
                <a:cs typeface="Calibri"/>
              </a:rPr>
              <a:t>Manual comparison. BRIM report in PBI compared to upload file</a:t>
            </a:r>
            <a:endParaRPr lang="en-US">
              <a:ea typeface="+mn-lt"/>
              <a:cs typeface="+mn-lt"/>
            </a:endParaRPr>
          </a:p>
          <a:p>
            <a:endParaRPr lang="en-US">
              <a:solidFill>
                <a:srgbClr val="FF0000"/>
              </a:solidFill>
              <a:ea typeface="+mn-lt"/>
              <a:cs typeface="+mn-lt"/>
            </a:endParaRPr>
          </a:p>
          <a:p>
            <a:pPr>
              <a:buChar char="•"/>
            </a:pPr>
            <a:endParaRPr lang="en-US">
              <a:ea typeface="+mn-lt"/>
              <a:cs typeface="+mn-lt"/>
            </a:endParaRPr>
          </a:p>
        </p:txBody>
      </p:sp>
    </p:spTree>
    <p:extLst>
      <p:ext uri="{BB962C8B-B14F-4D97-AF65-F5344CB8AC3E}">
        <p14:creationId xmlns:p14="http://schemas.microsoft.com/office/powerpoint/2010/main" val="807781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809" y="528516"/>
            <a:ext cx="10832410" cy="959790"/>
          </a:xfrm>
        </p:spPr>
        <p:txBody>
          <a:bodyPr>
            <a:normAutofit fontScale="90000"/>
          </a:bodyPr>
          <a:lstStyle/>
          <a:p>
            <a:r>
              <a:rPr lang="en-US" sz="2800">
                <a:solidFill>
                  <a:srgbClr val="FF0000"/>
                </a:solidFill>
                <a:latin typeface="Arial Rounded MT Bold"/>
              </a:rPr>
              <a:t>Reimbursement - External systems setup preparation and execution</a:t>
            </a:r>
            <a:br>
              <a:rPr lang="en-US" sz="3600">
                <a:solidFill>
                  <a:srgbClr val="FF0000"/>
                </a:solidFill>
                <a:latin typeface="Arial Rounded MT Bold" panose="020F0704030504030204" pitchFamily="34" charset="0"/>
              </a:rPr>
            </a:br>
            <a:endParaRPr lang="en-US" sz="3600">
              <a:solidFill>
                <a:srgbClr val="FF0000"/>
              </a:solidFill>
              <a:latin typeface="Arial Narrow" panose="020B0606020202030204" pitchFamily="34" charset="0"/>
            </a:endParaRPr>
          </a:p>
        </p:txBody>
      </p:sp>
      <p:sp>
        <p:nvSpPr>
          <p:cNvPr id="8" name="Rectangle 3">
            <a:extLst>
              <a:ext uri="{FF2B5EF4-FFF2-40B4-BE49-F238E27FC236}">
                <a16:creationId xmlns:a16="http://schemas.microsoft.com/office/drawing/2014/main" id="{40103D53-5394-4788-AD58-C22E7DFA8DD3}"/>
              </a:ext>
            </a:extLst>
          </p:cNvPr>
          <p:cNvSpPr>
            <a:spLocks noChangeArrowheads="1"/>
          </p:cNvSpPr>
          <p:nvPr/>
        </p:nvSpPr>
        <p:spPr bwMode="auto">
          <a:xfrm>
            <a:off x="197374" y="126376"/>
            <a:ext cx="12202112" cy="1984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Box 4">
            <a:extLst>
              <a:ext uri="{FF2B5EF4-FFF2-40B4-BE49-F238E27FC236}">
                <a16:creationId xmlns:a16="http://schemas.microsoft.com/office/drawing/2014/main" id="{DB8C9E94-AD24-30C8-6F69-8BB22346CF5A}"/>
              </a:ext>
            </a:extLst>
          </p:cNvPr>
          <p:cNvSpPr txBox="1"/>
          <p:nvPr/>
        </p:nvSpPr>
        <p:spPr>
          <a:xfrm>
            <a:off x="634675" y="1251171"/>
            <a:ext cx="11246678"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u="sng">
                <a:cs typeface="Segoe UI"/>
              </a:rPr>
              <a:t>Advances Inbound​ to BRIM (Advance upload from file)</a:t>
            </a:r>
          </a:p>
          <a:p>
            <a:pPr>
              <a:buFont typeface="Arial"/>
              <a:buChar char="•"/>
            </a:pPr>
            <a:r>
              <a:rPr lang="en-US">
                <a:cs typeface="Arial"/>
              </a:rPr>
              <a:t> IT team will coordinate with FS team to get the advances for 2022 into an excel</a:t>
            </a:r>
            <a:endParaRPr lang="en-US"/>
          </a:p>
          <a:p>
            <a:pPr>
              <a:buChar char="•"/>
            </a:pPr>
            <a:r>
              <a:rPr lang="en-US">
                <a:cs typeface="Arial"/>
              </a:rPr>
              <a:t> IT team will load the advances data file into BRIM system creating BIT’s</a:t>
            </a:r>
          </a:p>
          <a:p>
            <a:pPr>
              <a:buFont typeface="Arial"/>
              <a:buChar char="•"/>
            </a:pPr>
            <a:r>
              <a:rPr lang="en-US">
                <a:ea typeface="+mn-lt"/>
                <a:cs typeface="+mn-lt"/>
              </a:rPr>
              <a:t> Business team will validate the advances before scorecard generation.</a:t>
            </a:r>
          </a:p>
          <a:p>
            <a:r>
              <a:rPr lang="en-US" b="1">
                <a:solidFill>
                  <a:srgbClr val="FF0000"/>
                </a:solidFill>
                <a:cs typeface="Calibri"/>
              </a:rPr>
              <a:t>Note: </a:t>
            </a:r>
            <a:r>
              <a:rPr lang="en-US">
                <a:solidFill>
                  <a:srgbClr val="FF0000"/>
                </a:solidFill>
                <a:cs typeface="Calibri"/>
              </a:rPr>
              <a:t>Manual comparison. BRIM report in PBI compared to upload file</a:t>
            </a:r>
          </a:p>
          <a:p>
            <a:endParaRPr lang="en-US">
              <a:solidFill>
                <a:srgbClr val="FF0000"/>
              </a:solidFill>
              <a:ea typeface="+mn-lt"/>
              <a:cs typeface="Calibri"/>
            </a:endParaRPr>
          </a:p>
          <a:p>
            <a:r>
              <a:rPr lang="en-US" b="1" u="sng">
                <a:ea typeface="+mn-lt"/>
                <a:cs typeface="Calibri"/>
              </a:rPr>
              <a:t>Financial postings outbound from BRIM (Financial data extract from BRIM)</a:t>
            </a:r>
          </a:p>
          <a:p>
            <a:pPr marL="285750" indent="-285750">
              <a:buFont typeface="Wingdings" panose="05000000000000000000" pitchFamily="2" charset="2"/>
              <a:buChar char="§"/>
            </a:pPr>
            <a:r>
              <a:rPr lang="en-US">
                <a:cs typeface="Arial"/>
              </a:rPr>
              <a:t>IT PLUS team will extract FICA financial transactions from BRIM</a:t>
            </a:r>
          </a:p>
          <a:p>
            <a:pPr marL="285750" indent="-285750">
              <a:buFont typeface="Wingdings" panose="05000000000000000000" pitchFamily="2" charset="2"/>
              <a:buChar char="§"/>
            </a:pPr>
            <a:r>
              <a:rPr lang="en-US">
                <a:cs typeface="Arial"/>
              </a:rPr>
              <a:t>IT PLUS team will transform the data in FDW for PLUS. PLUS will upload the data from FDW.</a:t>
            </a:r>
          </a:p>
          <a:p>
            <a:pPr marL="285750" indent="-285750">
              <a:buFont typeface="Wingdings" panose="05000000000000000000" pitchFamily="2" charset="2"/>
              <a:buChar char="§"/>
            </a:pPr>
            <a:r>
              <a:rPr lang="en-US">
                <a:cs typeface="Arial"/>
              </a:rPr>
              <a:t>PLUS users will compare results in PLUS with data extract report from BRIM</a:t>
            </a:r>
          </a:p>
          <a:p>
            <a:r>
              <a:rPr lang="en-US" b="1">
                <a:solidFill>
                  <a:srgbClr val="FF0000"/>
                </a:solidFill>
                <a:cs typeface="Calibri"/>
              </a:rPr>
              <a:t>Note: </a:t>
            </a:r>
            <a:r>
              <a:rPr lang="en-US">
                <a:solidFill>
                  <a:srgbClr val="FF0000"/>
                </a:solidFill>
                <a:cs typeface="Calibri"/>
              </a:rPr>
              <a:t>Manual comparison. BRIM PBI report compared to PLUS reports</a:t>
            </a:r>
          </a:p>
          <a:p>
            <a:endParaRPr lang="en-US">
              <a:solidFill>
                <a:srgbClr val="FF0000"/>
              </a:solidFill>
              <a:cs typeface="Calibri"/>
            </a:endParaRPr>
          </a:p>
          <a:p>
            <a:r>
              <a:rPr lang="en-US" b="1" u="sng"/>
              <a:t>Z40 AR Inbound to BRIM (Conversion for Reimbursements)</a:t>
            </a:r>
          </a:p>
          <a:p>
            <a:pPr marL="285750" indent="-285750">
              <a:buFont typeface="Wingdings" panose="05000000000000000000" pitchFamily="2" charset="2"/>
              <a:buChar char="§"/>
            </a:pPr>
            <a:r>
              <a:rPr lang="en-US"/>
              <a:t>IT will execute the conversion programs in Z40 to push open AR into BRIM FICA</a:t>
            </a:r>
            <a:endParaRPr lang="en-US">
              <a:cs typeface="Calibri"/>
            </a:endParaRPr>
          </a:p>
          <a:p>
            <a:pPr marL="285750" indent="-285750">
              <a:buFont typeface="Wingdings" panose="05000000000000000000" pitchFamily="2" charset="2"/>
              <a:buChar char="§"/>
            </a:pPr>
            <a:r>
              <a:rPr lang="en-US"/>
              <a:t>Business team will validate the $ open AR in Z40 matches open AR in BRIM</a:t>
            </a:r>
            <a:endParaRPr lang="en-US">
              <a:cs typeface="Calibri"/>
            </a:endParaRPr>
          </a:p>
          <a:p>
            <a:pPr marL="285750" indent="-285750">
              <a:buFont typeface="Wingdings" panose="05000000000000000000" pitchFamily="2" charset="2"/>
              <a:buChar char="§"/>
            </a:pPr>
            <a:r>
              <a:rPr lang="en-US"/>
              <a:t>IT team will validate converted data review all errored-out migration records and ensure they are reprocessed </a:t>
            </a:r>
            <a:endParaRPr lang="en-US">
              <a:cs typeface="Calibri"/>
            </a:endParaRPr>
          </a:p>
          <a:p>
            <a:r>
              <a:rPr lang="en-US" b="1">
                <a:solidFill>
                  <a:srgbClr val="FF0000"/>
                </a:solidFill>
                <a:cs typeface="Calibri"/>
              </a:rPr>
              <a:t>Note: </a:t>
            </a:r>
            <a:r>
              <a:rPr lang="en-US">
                <a:solidFill>
                  <a:srgbClr val="FF0000"/>
                </a:solidFill>
                <a:cs typeface="Calibri"/>
              </a:rPr>
              <a:t>Open AR comparison between Z40 and BRIM. Manual comparison using SAP AR reports and show open aged AR in BRIM report </a:t>
            </a:r>
            <a:endParaRPr lang="en-US">
              <a:cs typeface="Arial"/>
            </a:endParaRPr>
          </a:p>
        </p:txBody>
      </p:sp>
    </p:spTree>
    <p:extLst>
      <p:ext uri="{BB962C8B-B14F-4D97-AF65-F5344CB8AC3E}">
        <p14:creationId xmlns:p14="http://schemas.microsoft.com/office/powerpoint/2010/main" val="1255728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BRIM Disaster Recovery Plan </a:t>
            </a:r>
          </a:p>
        </p:txBody>
      </p:sp>
      <p:sp>
        <p:nvSpPr>
          <p:cNvPr id="3" name="Subtitle 2"/>
          <p:cNvSpPr>
            <a:spLocks noGrp="1"/>
          </p:cNvSpPr>
          <p:nvPr>
            <p:ph type="subTitle" idx="1"/>
          </p:nvPr>
        </p:nvSpPr>
        <p:spPr/>
        <p:txBody>
          <a:bodyPr/>
          <a:lstStyle/>
          <a:p>
            <a:r>
              <a:rPr lang="en-US" dirty="0"/>
              <a:t>April 14, 2023</a:t>
            </a:r>
          </a:p>
        </p:txBody>
      </p:sp>
    </p:spTree>
    <p:extLst>
      <p:ext uri="{BB962C8B-B14F-4D97-AF65-F5344CB8AC3E}">
        <p14:creationId xmlns:p14="http://schemas.microsoft.com/office/powerpoint/2010/main" val="102593754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53D90-CE90-40E5-9BCE-93E7D388110B}"/>
              </a:ext>
            </a:extLst>
          </p:cNvPr>
          <p:cNvSpPr>
            <a:spLocks noGrp="1"/>
          </p:cNvSpPr>
          <p:nvPr>
            <p:ph type="title"/>
          </p:nvPr>
        </p:nvSpPr>
        <p:spPr>
          <a:xfrm>
            <a:off x="342900" y="250947"/>
            <a:ext cx="11502972" cy="752474"/>
          </a:xfrm>
          <a:solidFill>
            <a:schemeClr val="bg1">
              <a:lumMod val="85000"/>
            </a:schemeClr>
          </a:solidFill>
        </p:spPr>
        <p:txBody>
          <a:bodyPr vert="horz" lIns="91440" tIns="45720" rIns="91440" bIns="45720" rtlCol="0" anchor="b">
            <a:normAutofit/>
          </a:bodyPr>
          <a:lstStyle/>
          <a:p>
            <a:r>
              <a:rPr lang="en-US" sz="3200" dirty="0"/>
              <a:t>Limitations</a:t>
            </a:r>
            <a:endParaRPr lang="en-US" sz="3200" b="1" i="0" kern="1200" dirty="0">
              <a:latin typeface="TCCC-UnityHeadline" panose="020B0305030303020204" pitchFamily="34" charset="77"/>
              <a:ea typeface="+mj-ea"/>
              <a:cs typeface="+mj-cs"/>
            </a:endParaRPr>
          </a:p>
        </p:txBody>
      </p:sp>
      <p:sp>
        <p:nvSpPr>
          <p:cNvPr id="3" name="Rectangle 2">
            <a:extLst>
              <a:ext uri="{FF2B5EF4-FFF2-40B4-BE49-F238E27FC236}">
                <a16:creationId xmlns:a16="http://schemas.microsoft.com/office/drawing/2014/main" id="{F49202CD-271B-4DCC-AC37-C21377019381}"/>
              </a:ext>
            </a:extLst>
          </p:cNvPr>
          <p:cNvSpPr/>
          <p:nvPr/>
        </p:nvSpPr>
        <p:spPr>
          <a:xfrm>
            <a:off x="342900" y="1547708"/>
            <a:ext cx="11502972" cy="3644900"/>
          </a:xfrm>
          <a:prstGeom prst="rect">
            <a:avLst/>
          </a:prstGeom>
        </p:spPr>
        <p:txBody>
          <a:bodyPr/>
          <a:lstStyle/>
          <a:p>
            <a:pPr marL="285750" lvl="0" indent="-285750">
              <a:buFont typeface="Arial" panose="020B0604020202020204" pitchFamily="34" charset="0"/>
              <a:buChar char="•"/>
              <a:defRPr b="1"/>
            </a:pPr>
            <a:r>
              <a:rPr lang="en-US" sz="2400" dirty="0"/>
              <a:t>The plan is to exercise test with the SP0 (Production) environment</a:t>
            </a:r>
          </a:p>
          <a:p>
            <a:pPr marL="285750" lvl="0" indent="-285750">
              <a:buFont typeface="Arial" panose="020B0604020202020204" pitchFamily="34" charset="0"/>
              <a:buChar char="•"/>
              <a:defRPr b="1"/>
            </a:pPr>
            <a:r>
              <a:rPr lang="en-US" sz="2400" dirty="0"/>
              <a:t>We will not start loading data into SP0 until early April</a:t>
            </a:r>
          </a:p>
          <a:p>
            <a:pPr marL="285750" lvl="0" indent="-285750">
              <a:buFont typeface="Arial" panose="020B0604020202020204" pitchFamily="34" charset="0"/>
              <a:buChar char="•"/>
              <a:defRPr b="1"/>
            </a:pPr>
            <a:r>
              <a:rPr lang="en-US" sz="2400" dirty="0"/>
              <a:t>We will not complete the data loads until June</a:t>
            </a:r>
          </a:p>
          <a:p>
            <a:pPr marL="285750" lvl="0" indent="-285750">
              <a:buFont typeface="Arial" panose="020B0604020202020204" pitchFamily="34" charset="0"/>
              <a:buChar char="•"/>
              <a:defRPr b="1"/>
            </a:pPr>
            <a:r>
              <a:rPr lang="en-US" sz="2400" dirty="0"/>
              <a:t>We will not have transactional data in SP0 until go-live weekend</a:t>
            </a:r>
          </a:p>
          <a:p>
            <a:pPr marL="285750" lvl="0" indent="-285750">
              <a:buFont typeface="Arial" panose="020B0604020202020204" pitchFamily="34" charset="0"/>
              <a:buChar char="•"/>
              <a:defRPr b="1"/>
            </a:pPr>
            <a:r>
              <a:rPr lang="en-US" sz="2400" dirty="0"/>
              <a:t>DR will be scheduled ~45 days before go-live</a:t>
            </a:r>
          </a:p>
          <a:p>
            <a:pPr marL="285750" lvl="0" indent="-285750">
              <a:buFont typeface="Arial" panose="020B0604020202020204" pitchFamily="34" charset="0"/>
              <a:buChar char="•"/>
              <a:defRPr b="1"/>
            </a:pPr>
            <a:r>
              <a:rPr lang="en-US" sz="2400" dirty="0"/>
              <a:t>We will not be able to activate the interfaces</a:t>
            </a:r>
            <a:endParaRPr lang="en-US" sz="2000" dirty="0"/>
          </a:p>
        </p:txBody>
      </p:sp>
    </p:spTree>
    <p:extLst>
      <p:ext uri="{BB962C8B-B14F-4D97-AF65-F5344CB8AC3E}">
        <p14:creationId xmlns:p14="http://schemas.microsoft.com/office/powerpoint/2010/main" val="13589922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60AE8-3710-4D93-B9C0-39D458053047}"/>
              </a:ext>
            </a:extLst>
          </p:cNvPr>
          <p:cNvSpPr>
            <a:spLocks noGrp="1"/>
          </p:cNvSpPr>
          <p:nvPr>
            <p:ph type="title"/>
          </p:nvPr>
        </p:nvSpPr>
        <p:spPr>
          <a:xfrm>
            <a:off x="346128" y="352426"/>
            <a:ext cx="11502972" cy="752474"/>
          </a:xfrm>
          <a:solidFill>
            <a:schemeClr val="bg1">
              <a:lumMod val="85000"/>
            </a:schemeClr>
          </a:solidFill>
        </p:spPr>
        <p:txBody>
          <a:bodyPr vert="horz" lIns="91440" tIns="45720" rIns="91440" bIns="45720" rtlCol="0" anchor="b">
            <a:normAutofit/>
          </a:bodyPr>
          <a:lstStyle/>
          <a:p>
            <a:r>
              <a:rPr lang="en-US" sz="3200" dirty="0"/>
              <a:t>Plan</a:t>
            </a:r>
            <a:endParaRPr lang="en-US" sz="3200" b="1" i="0" kern="1200" dirty="0">
              <a:latin typeface="TCCC-UnityHeadline" panose="020B0305030303020204" pitchFamily="34" charset="77"/>
              <a:ea typeface="+mj-ea"/>
              <a:cs typeface="+mj-cs"/>
            </a:endParaRPr>
          </a:p>
        </p:txBody>
      </p:sp>
      <p:sp>
        <p:nvSpPr>
          <p:cNvPr id="3" name="Rectangle 2">
            <a:extLst>
              <a:ext uri="{FF2B5EF4-FFF2-40B4-BE49-F238E27FC236}">
                <a16:creationId xmlns:a16="http://schemas.microsoft.com/office/drawing/2014/main" id="{342C5D77-4CC8-4650-9404-6FBFFB7DF257}"/>
              </a:ext>
            </a:extLst>
          </p:cNvPr>
          <p:cNvSpPr/>
          <p:nvPr/>
        </p:nvSpPr>
        <p:spPr>
          <a:xfrm>
            <a:off x="346128" y="1104900"/>
            <a:ext cx="11502972" cy="5655496"/>
          </a:xfrm>
          <a:prstGeom prst="rect">
            <a:avLst/>
          </a:prstGeom>
        </p:spPr>
        <p:txBody>
          <a:bodyPr/>
          <a:lstStyle/>
          <a:p>
            <a:pPr marL="285750" lvl="0" indent="-285750">
              <a:buFont typeface="Arial" panose="020B0604020202020204" pitchFamily="34" charset="0"/>
              <a:buChar char="•"/>
              <a:defRPr b="1"/>
            </a:pPr>
            <a:r>
              <a:rPr lang="en-US" sz="2400" dirty="0"/>
              <a:t>To execute DR in Production after master data loads.</a:t>
            </a:r>
          </a:p>
          <a:p>
            <a:pPr marL="285750" lvl="0" indent="-285750">
              <a:buFont typeface="Arial" panose="020B0604020202020204" pitchFamily="34" charset="0"/>
              <a:buChar char="•"/>
              <a:defRPr b="1"/>
            </a:pPr>
            <a:r>
              <a:rPr lang="en-US" sz="2400" dirty="0"/>
              <a:t>Failover will be in a temporary DR location in the Mid West we are currently in the East</a:t>
            </a:r>
          </a:p>
          <a:p>
            <a:pPr marL="742950" lvl="1" indent="-285750">
              <a:buFont typeface="Arial" panose="020B0604020202020204" pitchFamily="34" charset="0"/>
              <a:buChar char="•"/>
              <a:defRPr b="1"/>
            </a:pPr>
            <a:r>
              <a:rPr lang="en-US" sz="2400" dirty="0"/>
              <a:t>How will it be Sized </a:t>
            </a:r>
          </a:p>
          <a:p>
            <a:pPr marL="742950" lvl="1" indent="-285750">
              <a:buFont typeface="Arial" panose="020B0604020202020204" pitchFamily="34" charset="0"/>
              <a:buChar char="•"/>
              <a:defRPr b="1"/>
            </a:pPr>
            <a:r>
              <a:rPr lang="en-US" sz="2400" dirty="0"/>
              <a:t>How will the infra be configured based on Sizing (S4 app, S4 dB, size for each)</a:t>
            </a:r>
          </a:p>
          <a:p>
            <a:pPr marL="285750" lvl="0" indent="-285750">
              <a:buFont typeface="Arial" panose="020B0604020202020204" pitchFamily="34" charset="0"/>
              <a:buChar char="•"/>
              <a:defRPr b="1"/>
            </a:pPr>
            <a:r>
              <a:rPr lang="en-US" sz="2400" dirty="0"/>
              <a:t>Test execution and validation will occur over a 2-day window, Saturday - Sunday</a:t>
            </a:r>
          </a:p>
          <a:p>
            <a:pPr marL="285750" lvl="0" indent="-285750">
              <a:buFont typeface="Arial" panose="020B0604020202020204" pitchFamily="34" charset="0"/>
              <a:buChar char="•"/>
              <a:defRPr b="1"/>
            </a:pPr>
            <a:r>
              <a:rPr lang="en-US" sz="2400" dirty="0"/>
              <a:t>Test</a:t>
            </a:r>
          </a:p>
          <a:p>
            <a:pPr marL="742950" lvl="1" indent="-285750">
              <a:buFont typeface="Arial" panose="020B0604020202020204" pitchFamily="34" charset="0"/>
              <a:buChar char="•"/>
              <a:defRPr b="1"/>
            </a:pPr>
            <a:r>
              <a:rPr lang="en-US" sz="2400" dirty="0"/>
              <a:t>Master data table records counts</a:t>
            </a:r>
          </a:p>
          <a:p>
            <a:pPr marL="742950" lvl="1" indent="-285750">
              <a:buFont typeface="Arial" panose="020B0604020202020204" pitchFamily="34" charset="0"/>
              <a:buChar char="•"/>
              <a:defRPr b="1"/>
            </a:pPr>
            <a:r>
              <a:rPr lang="en-US" sz="2400" dirty="0"/>
              <a:t>Configuration is correct</a:t>
            </a:r>
          </a:p>
          <a:p>
            <a:pPr marL="742950" lvl="1" indent="-285750">
              <a:buFont typeface="Arial" panose="020B0604020202020204" pitchFamily="34" charset="0"/>
              <a:buChar char="•"/>
              <a:defRPr b="1"/>
            </a:pPr>
            <a:r>
              <a:rPr lang="en-US" sz="2400" dirty="0"/>
              <a:t>Access with Domain</a:t>
            </a:r>
          </a:p>
          <a:p>
            <a:pPr marL="285750" indent="-285750">
              <a:buFont typeface="Arial" panose="020B0604020202020204" pitchFamily="34" charset="0"/>
              <a:buChar char="•"/>
              <a:defRPr b="1"/>
            </a:pPr>
            <a:r>
              <a:rPr lang="en-US" sz="2400" dirty="0"/>
              <a:t>Target dates ~45 days before go-live</a:t>
            </a:r>
          </a:p>
        </p:txBody>
      </p:sp>
    </p:spTree>
    <p:extLst>
      <p:ext uri="{BB962C8B-B14F-4D97-AF65-F5344CB8AC3E}">
        <p14:creationId xmlns:p14="http://schemas.microsoft.com/office/powerpoint/2010/main" val="353867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2C2694-6C3F-471E-9100-072B2A9269D7}"/>
              </a:ext>
            </a:extLst>
          </p:cNvPr>
          <p:cNvSpPr>
            <a:spLocks noGrp="1"/>
          </p:cNvSpPr>
          <p:nvPr>
            <p:ph type="title"/>
          </p:nvPr>
        </p:nvSpPr>
        <p:spPr>
          <a:xfrm>
            <a:off x="344514" y="289367"/>
            <a:ext cx="11502972" cy="477579"/>
          </a:xfrm>
        </p:spPr>
        <p:txBody>
          <a:bodyPr/>
          <a:lstStyle/>
          <a:p>
            <a:r>
              <a:rPr lang="en-US" dirty="0"/>
              <a:t>UAT 3</a:t>
            </a:r>
          </a:p>
        </p:txBody>
      </p:sp>
      <p:sp>
        <p:nvSpPr>
          <p:cNvPr id="2" name="TextBox 1">
            <a:extLst>
              <a:ext uri="{FF2B5EF4-FFF2-40B4-BE49-F238E27FC236}">
                <a16:creationId xmlns:a16="http://schemas.microsoft.com/office/drawing/2014/main" id="{FB49F2E7-10EF-443E-8D0D-D31FA155CDFB}"/>
              </a:ext>
            </a:extLst>
          </p:cNvPr>
          <p:cNvSpPr txBox="1"/>
          <p:nvPr/>
        </p:nvSpPr>
        <p:spPr>
          <a:xfrm>
            <a:off x="513709" y="843677"/>
            <a:ext cx="10952252" cy="3600986"/>
          </a:xfrm>
          <a:prstGeom prst="rect">
            <a:avLst/>
          </a:prstGeom>
          <a:noFill/>
        </p:spPr>
        <p:txBody>
          <a:bodyPr wrap="square" lIns="91440" tIns="45720" rIns="91440" bIns="45720" rtlCol="0" anchor="t">
            <a:spAutoFit/>
          </a:bodyPr>
          <a:lstStyle/>
          <a:p>
            <a:r>
              <a:rPr lang="en-US" sz="2400" b="1" dirty="0"/>
              <a:t>Assumptions</a:t>
            </a:r>
          </a:p>
          <a:p>
            <a:endParaRPr lang="en-US" sz="2400" b="1" dirty="0"/>
          </a:p>
          <a:p>
            <a:pPr marL="285750" indent="-285750">
              <a:buFont typeface="Wingdings" panose="05000000000000000000" pitchFamily="2" charset="2"/>
              <a:buChar char="§"/>
            </a:pPr>
            <a:r>
              <a:rPr lang="en-US" dirty="0"/>
              <a:t>Billing and reimbursement transactions will be executed in the BRIM UAT 3 Landscape with production data</a:t>
            </a:r>
            <a:endParaRPr lang="en-US" dirty="0">
              <a:ea typeface="Calibri"/>
              <a:cs typeface="Calibri"/>
            </a:endParaRPr>
          </a:p>
          <a:p>
            <a:pPr marL="285750" indent="-285750">
              <a:buFont typeface="Wingdings" panose="05000000000000000000" pitchFamily="2" charset="2"/>
              <a:buChar char="§"/>
            </a:pPr>
            <a:r>
              <a:rPr lang="en-US" dirty="0"/>
              <a:t>Where possible we will connect to Production Legacy systems. Details can be found in the integration tracker.</a:t>
            </a:r>
          </a:p>
          <a:p>
            <a:pPr marL="285750" indent="-285750">
              <a:buFont typeface="Wingdings" panose="05000000000000000000" pitchFamily="2" charset="2"/>
              <a:buChar char="§"/>
            </a:pPr>
            <a:r>
              <a:rPr lang="en-US" b="1" dirty="0">
                <a:ea typeface="Calibri"/>
                <a:cs typeface="Calibri"/>
              </a:rPr>
              <a:t>BRIM will not be a production system but will be configured and integrated like a production system</a:t>
            </a:r>
          </a:p>
          <a:p>
            <a:pPr marL="285750" indent="-285750">
              <a:buFont typeface="Wingdings" panose="05000000000000000000" pitchFamily="2" charset="2"/>
              <a:buChar char="§"/>
            </a:pPr>
            <a:r>
              <a:rPr lang="en-US" dirty="0"/>
              <a:t>The production execution will provide billing and reimbursement results that can be used to validate results with the output from legacy MF systems (USA Billing, Service Billing, Reimbursements)</a:t>
            </a:r>
            <a:endParaRPr lang="en-US" dirty="0">
              <a:ea typeface="Calibri"/>
              <a:cs typeface="Calibri"/>
            </a:endParaRPr>
          </a:p>
          <a:p>
            <a:pPr marL="285750" indent="-285750">
              <a:buFont typeface="Wingdings" panose="05000000000000000000" pitchFamily="2" charset="2"/>
              <a:buChar char="§"/>
            </a:pPr>
            <a:r>
              <a:rPr lang="en-US" dirty="0"/>
              <a:t>The most recent  (P40) master data (BP, CA, CH, Materials, Finance) will be available in the UAT 3 system</a:t>
            </a:r>
            <a:endParaRPr lang="en-US" dirty="0">
              <a:ea typeface="Calibri"/>
              <a:cs typeface="Calibri"/>
            </a:endParaRPr>
          </a:p>
          <a:p>
            <a:pPr marL="285750" indent="-285750">
              <a:buFont typeface="Wingdings" panose="05000000000000000000" pitchFamily="2" charset="2"/>
              <a:buChar char="§"/>
            </a:pPr>
            <a:r>
              <a:rPr lang="en-US" b="1" dirty="0"/>
              <a:t>Financial transactions results/postings (GL, Invoices, Payments) will not be sent back to any legacy production system, including TCCC S4</a:t>
            </a:r>
            <a:endParaRPr lang="en-US" b="1" dirty="0">
              <a:ea typeface="Calibri"/>
              <a:cs typeface="Calibri"/>
            </a:endParaRPr>
          </a:p>
          <a:p>
            <a:pPr marL="285750" indent="-285750">
              <a:buFont typeface="Wingdings" panose="05000000000000000000" pitchFamily="2" charset="2"/>
              <a:buChar char="§"/>
            </a:pPr>
            <a:r>
              <a:rPr lang="en-US" dirty="0"/>
              <a:t>The BRIM billing and reimbursement results will be validated by Financial Services team members with support from IT</a:t>
            </a:r>
            <a:endParaRPr lang="en-US" dirty="0">
              <a:ea typeface="Calibri"/>
              <a:cs typeface="Calibri"/>
            </a:endParaRPr>
          </a:p>
        </p:txBody>
      </p:sp>
    </p:spTree>
    <p:extLst>
      <p:ext uri="{BB962C8B-B14F-4D97-AF65-F5344CB8AC3E}">
        <p14:creationId xmlns:p14="http://schemas.microsoft.com/office/powerpoint/2010/main" val="3050904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2C2694-6C3F-471E-9100-072B2A9269D7}"/>
              </a:ext>
            </a:extLst>
          </p:cNvPr>
          <p:cNvSpPr>
            <a:spLocks noGrp="1"/>
          </p:cNvSpPr>
          <p:nvPr>
            <p:ph type="title"/>
          </p:nvPr>
        </p:nvSpPr>
        <p:spPr>
          <a:xfrm>
            <a:off x="344514" y="289367"/>
            <a:ext cx="11502972" cy="477579"/>
          </a:xfrm>
        </p:spPr>
        <p:txBody>
          <a:bodyPr/>
          <a:lstStyle/>
          <a:p>
            <a:r>
              <a:rPr lang="en-US" dirty="0"/>
              <a:t>UAT 3 in BRIM</a:t>
            </a:r>
          </a:p>
        </p:txBody>
      </p:sp>
      <p:sp>
        <p:nvSpPr>
          <p:cNvPr id="2" name="TextBox 1">
            <a:extLst>
              <a:ext uri="{FF2B5EF4-FFF2-40B4-BE49-F238E27FC236}">
                <a16:creationId xmlns:a16="http://schemas.microsoft.com/office/drawing/2014/main" id="{FB49F2E7-10EF-443E-8D0D-D31FA155CDFB}"/>
              </a:ext>
            </a:extLst>
          </p:cNvPr>
          <p:cNvSpPr txBox="1"/>
          <p:nvPr/>
        </p:nvSpPr>
        <p:spPr>
          <a:xfrm>
            <a:off x="513709" y="843677"/>
            <a:ext cx="10952252" cy="1046440"/>
          </a:xfrm>
          <a:prstGeom prst="rect">
            <a:avLst/>
          </a:prstGeom>
          <a:noFill/>
        </p:spPr>
        <p:txBody>
          <a:bodyPr wrap="square" rtlCol="0">
            <a:spAutoFit/>
          </a:bodyPr>
          <a:lstStyle/>
          <a:p>
            <a:r>
              <a:rPr lang="en-US" sz="2400" b="1" dirty="0"/>
              <a:t>BRIM UAT 3 system data prerequisites prior to start of execution</a:t>
            </a:r>
          </a:p>
          <a:p>
            <a:endParaRPr lang="en-US" dirty="0"/>
          </a:p>
          <a:p>
            <a:pPr marL="285750" indent="-285750">
              <a:buFont typeface="Wingdings" panose="05000000000000000000" pitchFamily="2" charset="2"/>
              <a:buChar char="§"/>
            </a:pPr>
            <a:endParaRPr lang="en-US" sz="2000" dirty="0"/>
          </a:p>
        </p:txBody>
      </p:sp>
      <p:sp>
        <p:nvSpPr>
          <p:cNvPr id="3" name="TextBox 2">
            <a:extLst>
              <a:ext uri="{FF2B5EF4-FFF2-40B4-BE49-F238E27FC236}">
                <a16:creationId xmlns:a16="http://schemas.microsoft.com/office/drawing/2014/main" id="{67E7E529-ADB5-4229-AE84-74C4593B4828}"/>
              </a:ext>
            </a:extLst>
          </p:cNvPr>
          <p:cNvSpPr txBox="1"/>
          <p:nvPr/>
        </p:nvSpPr>
        <p:spPr>
          <a:xfrm>
            <a:off x="757409" y="1305654"/>
            <a:ext cx="10464852" cy="5262979"/>
          </a:xfrm>
          <a:prstGeom prst="rect">
            <a:avLst/>
          </a:prstGeom>
          <a:noFill/>
        </p:spPr>
        <p:txBody>
          <a:bodyPr wrap="none" lIns="91440" tIns="45720" rIns="91440" bIns="45720" rtlCol="0" anchor="t">
            <a:spAutoFit/>
          </a:bodyPr>
          <a:lstStyle/>
          <a:p>
            <a:pPr marL="285750" indent="-285750">
              <a:buFont typeface="Wingdings" panose="05000000000000000000" pitchFamily="2" charset="2"/>
              <a:buChar char="§"/>
            </a:pPr>
            <a:r>
              <a:rPr lang="en-US" sz="1600" b="1" dirty="0"/>
              <a:t>Production Master data </a:t>
            </a:r>
          </a:p>
          <a:p>
            <a:pPr marL="742950" lvl="1" indent="-285750">
              <a:buFont typeface="Wingdings" panose="05000000000000000000" pitchFamily="2" charset="2"/>
              <a:buChar char="§"/>
            </a:pPr>
            <a:r>
              <a:rPr lang="en-US" sz="1600" dirty="0"/>
              <a:t>Business Partner from TCCC S4 X40 loaded</a:t>
            </a:r>
            <a:endParaRPr lang="en-US" sz="1600" dirty="0">
              <a:cs typeface="Calibri"/>
            </a:endParaRPr>
          </a:p>
          <a:p>
            <a:pPr marL="742950" lvl="1" indent="-285750">
              <a:buFont typeface="Wingdings" panose="05000000000000000000" pitchFamily="2" charset="2"/>
              <a:buChar char="§"/>
            </a:pPr>
            <a:r>
              <a:rPr lang="en-US" sz="1600" dirty="0"/>
              <a:t>Contract Account from TCCC S4 X40 loaded</a:t>
            </a:r>
            <a:endParaRPr lang="en-US" sz="1600" dirty="0">
              <a:cs typeface="Calibri"/>
            </a:endParaRPr>
          </a:p>
          <a:p>
            <a:pPr marL="742950" lvl="1" indent="-285750">
              <a:buFont typeface="Wingdings" panose="05000000000000000000" pitchFamily="2" charset="2"/>
              <a:buChar char="§"/>
            </a:pPr>
            <a:r>
              <a:rPr lang="en-US" sz="1600" dirty="0"/>
              <a:t>Customer Hierarchy from TCCC S4 X40 loaded</a:t>
            </a:r>
            <a:endParaRPr lang="en-US" sz="1600" dirty="0">
              <a:cs typeface="Calibri"/>
            </a:endParaRPr>
          </a:p>
          <a:p>
            <a:pPr marL="742950" lvl="1" indent="-285750">
              <a:buFont typeface="Wingdings" panose="05000000000000000000" pitchFamily="2" charset="2"/>
              <a:buChar char="§"/>
            </a:pPr>
            <a:r>
              <a:rPr lang="en-US" sz="1600" dirty="0"/>
              <a:t>Material Masters from TCCC S4 X40 loaded</a:t>
            </a:r>
            <a:endParaRPr lang="en-US" sz="1600" dirty="0">
              <a:cs typeface="Calibri"/>
            </a:endParaRPr>
          </a:p>
          <a:p>
            <a:pPr marL="742950" lvl="1" indent="-285750">
              <a:buFont typeface="Wingdings" panose="05000000000000000000" pitchFamily="2" charset="2"/>
              <a:buChar char="§"/>
            </a:pPr>
            <a:r>
              <a:rPr lang="en-US" sz="1600" dirty="0"/>
              <a:t>Pricing data from TCCC S4 X40 loaded</a:t>
            </a:r>
            <a:endParaRPr lang="en-US" sz="1600" dirty="0">
              <a:cs typeface="Calibri"/>
            </a:endParaRPr>
          </a:p>
          <a:p>
            <a:pPr marL="742950" lvl="1" indent="-285750">
              <a:buFont typeface="Wingdings" panose="05000000000000000000" pitchFamily="2" charset="2"/>
              <a:buChar char="§"/>
            </a:pPr>
            <a:r>
              <a:rPr lang="en-US" sz="1600" dirty="0"/>
              <a:t>Finance master data (PC, CC, GL) – TCCC MDG P45</a:t>
            </a:r>
            <a:endParaRPr lang="en-US" sz="1600" dirty="0">
              <a:cs typeface="Calibri"/>
            </a:endParaRPr>
          </a:p>
          <a:p>
            <a:pPr marL="742950" lvl="1" indent="-285750">
              <a:buFont typeface="Wingdings" panose="05000000000000000000" pitchFamily="2" charset="2"/>
              <a:buChar char="§"/>
            </a:pPr>
            <a:r>
              <a:rPr lang="en-US" sz="1600" dirty="0"/>
              <a:t>Bank Master Data – TCCC S4 X40</a:t>
            </a:r>
            <a:endParaRPr lang="en-US" sz="1600" dirty="0">
              <a:cs typeface="Calibri"/>
            </a:endParaRP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b="1" dirty="0"/>
              <a:t>BRIM data </a:t>
            </a:r>
            <a:endParaRPr lang="en-US" sz="1600" b="1" dirty="0">
              <a:cs typeface="Calibri"/>
            </a:endParaRPr>
          </a:p>
          <a:p>
            <a:pPr marL="742950" lvl="1" indent="-285750">
              <a:buFont typeface="Wingdings" panose="05000000000000000000" pitchFamily="2" charset="2"/>
              <a:buChar char="§"/>
            </a:pPr>
            <a:r>
              <a:rPr lang="en-US" sz="1600" dirty="0"/>
              <a:t>Master Agreements – Templates with data provided by FS team </a:t>
            </a:r>
            <a:endParaRPr lang="en-US" sz="1600" dirty="0">
              <a:cs typeface="Calibri"/>
            </a:endParaRPr>
          </a:p>
          <a:p>
            <a:pPr marL="742950" lvl="1" indent="-285750">
              <a:buFont typeface="Wingdings" panose="05000000000000000000" pitchFamily="2" charset="2"/>
              <a:buChar char="§"/>
            </a:pPr>
            <a:r>
              <a:rPr lang="en-US" sz="1600" dirty="0"/>
              <a:t>Subscription contracts – Created after fund validation by FS Team</a:t>
            </a:r>
            <a:endParaRPr lang="en-US" sz="1600" dirty="0">
              <a:cs typeface="Calibri"/>
            </a:endParaRPr>
          </a:p>
          <a:p>
            <a:pPr marL="742950" lvl="1" indent="-285750">
              <a:buFont typeface="Wingdings" panose="05000000000000000000" pitchFamily="2" charset="2"/>
              <a:buChar char="§"/>
            </a:pPr>
            <a:r>
              <a:rPr lang="en-US" sz="1600" dirty="0"/>
              <a:t>Manual future deductions – Data provided by FS team for the upload. May have to load invoice deductions from MF</a:t>
            </a:r>
            <a:endParaRPr lang="en-US" sz="1600" dirty="0">
              <a:cs typeface="Calibri"/>
            </a:endParaRPr>
          </a:p>
          <a:p>
            <a:pPr marL="742950" lvl="1" indent="-285750">
              <a:buFont typeface="Wingdings" panose="05000000000000000000" pitchFamily="2" charset="2"/>
              <a:buChar char="§"/>
            </a:pPr>
            <a:r>
              <a:rPr lang="en-US" sz="1600" dirty="0"/>
              <a:t>Advanced scorecard payout data- Data provided by MF team for upload</a:t>
            </a:r>
            <a:endParaRPr lang="en-US" sz="1600" dirty="0">
              <a:cs typeface="Calibri"/>
            </a:endParaRPr>
          </a:p>
          <a:p>
            <a:pPr marL="742950" lvl="1" indent="-285750">
              <a:buFont typeface="Wingdings" panose="05000000000000000000" pitchFamily="2" charset="2"/>
              <a:buChar char="§"/>
            </a:pPr>
            <a:r>
              <a:rPr lang="en-US" sz="1600" dirty="0"/>
              <a:t>Free call and labor credit – Data provided by FS team for upload</a:t>
            </a:r>
            <a:endParaRPr lang="en-US" sz="1600" dirty="0">
              <a:cs typeface="Calibri"/>
            </a:endParaRPr>
          </a:p>
          <a:p>
            <a:pPr marL="742950" lvl="1" indent="-285750">
              <a:buFont typeface="Wingdings" panose="05000000000000000000" pitchFamily="2" charset="2"/>
              <a:buChar char="§"/>
            </a:pPr>
            <a:r>
              <a:rPr lang="en-US" sz="1600" dirty="0"/>
              <a:t>SD Pricing and BRIM Billing pricing – Data provided by FS team for upload</a:t>
            </a:r>
            <a:endParaRPr lang="en-US" sz="1600" dirty="0">
              <a:cs typeface="Calibri"/>
            </a:endParaRPr>
          </a:p>
          <a:p>
            <a:pPr marL="742950" lvl="1" indent="-285750">
              <a:buFont typeface="Wingdings" panose="05000000000000000000" pitchFamily="2" charset="2"/>
              <a:buChar char="§"/>
            </a:pPr>
            <a:r>
              <a:rPr lang="en-US" sz="1600" dirty="0"/>
              <a:t>AR – Aged – FICA – Data to be migrated from TCCC S4 Pre-Prod X40</a:t>
            </a:r>
            <a:endParaRPr lang="en-US" sz="1600" dirty="0">
              <a:cs typeface="Calibri"/>
            </a:endParaRPr>
          </a:p>
          <a:p>
            <a:pPr marL="742950" lvl="1" indent="-285750">
              <a:buFont typeface="Wingdings" panose="05000000000000000000" pitchFamily="2" charset="2"/>
              <a:buChar char="§"/>
            </a:pPr>
            <a:r>
              <a:rPr lang="en-US" sz="1600" dirty="0"/>
              <a:t>Financial service to complete KOAR COA template for KOAR load. This must be similar as Production </a:t>
            </a:r>
            <a:endParaRPr lang="en-US" sz="1600" dirty="0">
              <a:cs typeface="Calibri"/>
            </a:endParaRPr>
          </a:p>
          <a:p>
            <a:pPr marL="742950" lvl="1" indent="-285750">
              <a:buFont typeface="Wingdings" panose="05000000000000000000" pitchFamily="2" charset="2"/>
              <a:buChar char="§"/>
            </a:pPr>
            <a:r>
              <a:rPr lang="en-US" sz="1600" dirty="0"/>
              <a:t>KOAR BP data sent to KOAR from BRIM once BP’s are loaded</a:t>
            </a:r>
            <a:endParaRPr lang="en-US" sz="1600" dirty="0">
              <a:cs typeface="Calibri"/>
            </a:endParaRPr>
          </a:p>
          <a:p>
            <a:pPr marL="742950" lvl="1" indent="-285750">
              <a:buFont typeface="Wingdings" panose="05000000000000000000" pitchFamily="2" charset="2"/>
              <a:buChar char="§"/>
            </a:pPr>
            <a:r>
              <a:rPr lang="en-US" sz="1600" dirty="0"/>
              <a:t>KOAR Data – Data to be loaded from KOAR production like with Prod Data</a:t>
            </a:r>
            <a:endParaRPr lang="en-US" sz="1600" dirty="0">
              <a:cs typeface="Calibri"/>
            </a:endParaRPr>
          </a:p>
          <a:p>
            <a:endParaRPr lang="en-US" sz="1600" dirty="0">
              <a:cs typeface="Calibri"/>
            </a:endParaRPr>
          </a:p>
        </p:txBody>
      </p:sp>
    </p:spTree>
    <p:extLst>
      <p:ext uri="{BB962C8B-B14F-4D97-AF65-F5344CB8AC3E}">
        <p14:creationId xmlns:p14="http://schemas.microsoft.com/office/powerpoint/2010/main" val="149164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2C2694-6C3F-471E-9100-072B2A9269D7}"/>
              </a:ext>
            </a:extLst>
          </p:cNvPr>
          <p:cNvSpPr>
            <a:spLocks noGrp="1"/>
          </p:cNvSpPr>
          <p:nvPr>
            <p:ph type="title"/>
          </p:nvPr>
        </p:nvSpPr>
        <p:spPr>
          <a:xfrm>
            <a:off x="344514" y="289367"/>
            <a:ext cx="11502972" cy="477579"/>
          </a:xfrm>
        </p:spPr>
        <p:txBody>
          <a:bodyPr/>
          <a:lstStyle/>
          <a:p>
            <a:r>
              <a:rPr lang="en-US" dirty="0"/>
              <a:t>UAT 3 BRIM</a:t>
            </a:r>
          </a:p>
        </p:txBody>
      </p:sp>
      <p:sp>
        <p:nvSpPr>
          <p:cNvPr id="2" name="TextBox 1">
            <a:extLst>
              <a:ext uri="{FF2B5EF4-FFF2-40B4-BE49-F238E27FC236}">
                <a16:creationId xmlns:a16="http://schemas.microsoft.com/office/drawing/2014/main" id="{FB49F2E7-10EF-443E-8D0D-D31FA155CDFB}"/>
              </a:ext>
            </a:extLst>
          </p:cNvPr>
          <p:cNvSpPr txBox="1"/>
          <p:nvPr/>
        </p:nvSpPr>
        <p:spPr>
          <a:xfrm>
            <a:off x="439527" y="729661"/>
            <a:ext cx="10952252" cy="1046440"/>
          </a:xfrm>
          <a:prstGeom prst="rect">
            <a:avLst/>
          </a:prstGeom>
          <a:noFill/>
        </p:spPr>
        <p:txBody>
          <a:bodyPr wrap="square" rtlCol="0">
            <a:spAutoFit/>
          </a:bodyPr>
          <a:lstStyle/>
          <a:p>
            <a:r>
              <a:rPr lang="en-US" sz="2400" b="1"/>
              <a:t>Business Process Scope - Billing</a:t>
            </a:r>
          </a:p>
          <a:p>
            <a:endParaRPr lang="en-US"/>
          </a:p>
          <a:p>
            <a:pPr marL="285750" indent="-285750">
              <a:buFont typeface="Wingdings" panose="05000000000000000000" pitchFamily="2" charset="2"/>
              <a:buChar char="§"/>
            </a:pPr>
            <a:endParaRPr lang="en-US" sz="2000"/>
          </a:p>
        </p:txBody>
      </p:sp>
      <p:graphicFrame>
        <p:nvGraphicFramePr>
          <p:cNvPr id="4" name="Table 4">
            <a:extLst>
              <a:ext uri="{FF2B5EF4-FFF2-40B4-BE49-F238E27FC236}">
                <a16:creationId xmlns:a16="http://schemas.microsoft.com/office/drawing/2014/main" id="{AB25CB89-81C3-4B46-BE7A-A33AD595F71D}"/>
              </a:ext>
            </a:extLst>
          </p:cNvPr>
          <p:cNvGraphicFramePr>
            <a:graphicFrameLocks noGrp="1"/>
          </p:cNvGraphicFramePr>
          <p:nvPr>
            <p:extLst>
              <p:ext uri="{D42A27DB-BD31-4B8C-83A1-F6EECF244321}">
                <p14:modId xmlns:p14="http://schemas.microsoft.com/office/powerpoint/2010/main" val="1052303011"/>
              </p:ext>
            </p:extLst>
          </p:nvPr>
        </p:nvGraphicFramePr>
        <p:xfrm>
          <a:off x="644989" y="1229286"/>
          <a:ext cx="7046342" cy="5072370"/>
        </p:xfrm>
        <a:graphic>
          <a:graphicData uri="http://schemas.openxmlformats.org/drawingml/2006/table">
            <a:tbl>
              <a:tblPr firstRow="1" bandRow="1">
                <a:tableStyleId>{5C22544A-7EE6-4342-B048-85BDC9FD1C3A}</a:tableStyleId>
              </a:tblPr>
              <a:tblGrid>
                <a:gridCol w="2944403">
                  <a:extLst>
                    <a:ext uri="{9D8B030D-6E8A-4147-A177-3AD203B41FA5}">
                      <a16:colId xmlns:a16="http://schemas.microsoft.com/office/drawing/2014/main" val="4264492287"/>
                    </a:ext>
                  </a:extLst>
                </a:gridCol>
                <a:gridCol w="1158878">
                  <a:extLst>
                    <a:ext uri="{9D8B030D-6E8A-4147-A177-3AD203B41FA5}">
                      <a16:colId xmlns:a16="http://schemas.microsoft.com/office/drawing/2014/main" val="705432711"/>
                    </a:ext>
                  </a:extLst>
                </a:gridCol>
                <a:gridCol w="2943061">
                  <a:extLst>
                    <a:ext uri="{9D8B030D-6E8A-4147-A177-3AD203B41FA5}">
                      <a16:colId xmlns:a16="http://schemas.microsoft.com/office/drawing/2014/main" val="177970697"/>
                    </a:ext>
                  </a:extLst>
                </a:gridCol>
              </a:tblGrid>
              <a:tr h="556250">
                <a:tc>
                  <a:txBody>
                    <a:bodyPr/>
                    <a:lstStyle/>
                    <a:p>
                      <a:r>
                        <a:rPr lang="en-US"/>
                        <a:t>Business Process</a:t>
                      </a:r>
                    </a:p>
                  </a:txBody>
                  <a:tcPr/>
                </a:tc>
                <a:tc>
                  <a:txBody>
                    <a:bodyPr/>
                    <a:lstStyle/>
                    <a:p>
                      <a:r>
                        <a:rPr lang="en-US"/>
                        <a:t>In Scope?</a:t>
                      </a:r>
                    </a:p>
                  </a:txBody>
                  <a:tcPr/>
                </a:tc>
                <a:tc>
                  <a:txBody>
                    <a:bodyPr/>
                    <a:lstStyle/>
                    <a:p>
                      <a:r>
                        <a:rPr lang="en-US"/>
                        <a:t>Comment</a:t>
                      </a:r>
                    </a:p>
                  </a:txBody>
                  <a:tcPr/>
                </a:tc>
                <a:extLst>
                  <a:ext uri="{0D108BD9-81ED-4DB2-BD59-A6C34878D82A}">
                    <a16:rowId xmlns:a16="http://schemas.microsoft.com/office/drawing/2014/main" val="1487312176"/>
                  </a:ext>
                </a:extLst>
              </a:tr>
              <a:tr h="370840">
                <a:tc>
                  <a:txBody>
                    <a:bodyPr/>
                    <a:lstStyle/>
                    <a:p>
                      <a:r>
                        <a:rPr lang="en-US"/>
                        <a:t>Service Billing</a:t>
                      </a:r>
                    </a:p>
                  </a:txBody>
                  <a:tcPr/>
                </a:tc>
                <a:tc>
                  <a:txBody>
                    <a:bodyPr/>
                    <a:lstStyle/>
                    <a:p>
                      <a:r>
                        <a:rPr lang="en-US"/>
                        <a:t>Yes</a:t>
                      </a:r>
                    </a:p>
                  </a:txBody>
                  <a:tcPr/>
                </a:tc>
                <a:tc>
                  <a:txBody>
                    <a:bodyPr/>
                    <a:lstStyle/>
                    <a:p>
                      <a:r>
                        <a:rPr lang="en-US"/>
                        <a:t>Send Prod. Orders Thirsty</a:t>
                      </a:r>
                    </a:p>
                  </a:txBody>
                  <a:tcPr/>
                </a:tc>
                <a:extLst>
                  <a:ext uri="{0D108BD9-81ED-4DB2-BD59-A6C34878D82A}">
                    <a16:rowId xmlns:a16="http://schemas.microsoft.com/office/drawing/2014/main" val="2711650032"/>
                  </a:ext>
                </a:extLst>
              </a:tr>
              <a:tr h="370840">
                <a:tc>
                  <a:txBody>
                    <a:bodyPr/>
                    <a:lstStyle/>
                    <a:p>
                      <a:r>
                        <a:rPr lang="en-US"/>
                        <a:t>Equipment Lease Billing</a:t>
                      </a:r>
                    </a:p>
                  </a:txBody>
                  <a:tcPr/>
                </a:tc>
                <a:tc>
                  <a:txBody>
                    <a:bodyPr/>
                    <a:lstStyle/>
                    <a:p>
                      <a:r>
                        <a:rPr lang="en-US"/>
                        <a:t>Yes</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a:t>Send Prod. Orders JDE</a:t>
                      </a:r>
                    </a:p>
                  </a:txBody>
                  <a:tcPr/>
                </a:tc>
                <a:extLst>
                  <a:ext uri="{0D108BD9-81ED-4DB2-BD59-A6C34878D82A}">
                    <a16:rowId xmlns:a16="http://schemas.microsoft.com/office/drawing/2014/main" val="1592860630"/>
                  </a:ext>
                </a:extLst>
              </a:tr>
              <a:tr h="370840">
                <a:tc>
                  <a:txBody>
                    <a:bodyPr/>
                    <a:lstStyle/>
                    <a:p>
                      <a:r>
                        <a:rPr lang="en-US"/>
                        <a:t>Equipment Sale Billing</a:t>
                      </a:r>
                    </a:p>
                  </a:txBody>
                  <a:tcPr/>
                </a:tc>
                <a:tc>
                  <a:txBody>
                    <a:bodyPr/>
                    <a:lstStyle/>
                    <a:p>
                      <a:r>
                        <a:rPr lang="en-US"/>
                        <a:t>Yes</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dirty="0"/>
                        <a:t> Back feed to JDE is Out of Scope for JDE Prod</a:t>
                      </a:r>
                    </a:p>
                  </a:txBody>
                  <a:tcPr/>
                </a:tc>
                <a:extLst>
                  <a:ext uri="{0D108BD9-81ED-4DB2-BD59-A6C34878D82A}">
                    <a16:rowId xmlns:a16="http://schemas.microsoft.com/office/drawing/2014/main" val="1057497151"/>
                  </a:ext>
                </a:extLst>
              </a:tr>
              <a:tr h="370840">
                <a:tc>
                  <a:txBody>
                    <a:bodyPr/>
                    <a:lstStyle/>
                    <a:p>
                      <a:r>
                        <a:rPr lang="en-US" dirty="0"/>
                        <a:t>Parts Billing only</a:t>
                      </a:r>
                    </a:p>
                  </a:txBody>
                  <a:tcPr/>
                </a:tc>
                <a:tc>
                  <a:txBody>
                    <a:bodyPr/>
                    <a:lstStyle/>
                    <a:p>
                      <a:r>
                        <a:rPr lang="en-US"/>
                        <a:t>Yes</a:t>
                      </a:r>
                    </a:p>
                  </a:txBody>
                  <a:tcPr/>
                </a:tc>
                <a:tc>
                  <a:txBody>
                    <a:bodyPr/>
                    <a:lstStyle/>
                    <a:p>
                      <a:r>
                        <a:rPr lang="en-US"/>
                        <a:t>Prod. Data (no Supplier payment or COGS back feed)</a:t>
                      </a:r>
                    </a:p>
                  </a:txBody>
                  <a:tcPr/>
                </a:tc>
                <a:extLst>
                  <a:ext uri="{0D108BD9-81ED-4DB2-BD59-A6C34878D82A}">
                    <a16:rowId xmlns:a16="http://schemas.microsoft.com/office/drawing/2014/main" val="1272488290"/>
                  </a:ext>
                </a:extLst>
              </a:tr>
              <a:tr h="370840">
                <a:tc>
                  <a:txBody>
                    <a:bodyPr/>
                    <a:lstStyle/>
                    <a:p>
                      <a:r>
                        <a:rPr lang="en-US" dirty="0"/>
                        <a:t>Sweetener Billing</a:t>
                      </a:r>
                    </a:p>
                  </a:txBody>
                  <a:tcPr/>
                </a:tc>
                <a:tc>
                  <a:txBody>
                    <a:bodyPr/>
                    <a:lstStyle/>
                    <a:p>
                      <a:r>
                        <a:rPr lang="en-US" dirty="0"/>
                        <a:t>No</a:t>
                      </a:r>
                    </a:p>
                  </a:txBody>
                  <a:tcPr/>
                </a:tc>
                <a:tc>
                  <a:txBody>
                    <a:bodyPr/>
                    <a:lstStyle/>
                    <a:p>
                      <a:r>
                        <a:rPr lang="en-US"/>
                        <a:t>IDOC’s simulated. These will be production IDOC data</a:t>
                      </a:r>
                    </a:p>
                  </a:txBody>
                  <a:tcPr/>
                </a:tc>
                <a:extLst>
                  <a:ext uri="{0D108BD9-81ED-4DB2-BD59-A6C34878D82A}">
                    <a16:rowId xmlns:a16="http://schemas.microsoft.com/office/drawing/2014/main" val="2225772083"/>
                  </a:ext>
                </a:extLst>
              </a:tr>
              <a:tr h="370840">
                <a:tc>
                  <a:txBody>
                    <a:bodyPr/>
                    <a:lstStyle/>
                    <a:p>
                      <a:r>
                        <a:rPr lang="en-US"/>
                        <a:t>Supply Chain Billing</a:t>
                      </a:r>
                    </a:p>
                  </a:txBody>
                  <a:tcPr/>
                </a:tc>
                <a:tc>
                  <a:txBody>
                    <a:bodyPr/>
                    <a:lstStyle/>
                    <a:p>
                      <a:r>
                        <a:rPr lang="en-US"/>
                        <a:t>No</a:t>
                      </a:r>
                    </a:p>
                  </a:txBody>
                  <a:tcPr/>
                </a:tc>
                <a:tc>
                  <a:txBody>
                    <a:bodyPr/>
                    <a:lstStyle/>
                    <a:p>
                      <a:r>
                        <a:rPr lang="en-US"/>
                        <a:t>Tested in UAT</a:t>
                      </a:r>
                    </a:p>
                  </a:txBody>
                  <a:tcPr/>
                </a:tc>
                <a:extLst>
                  <a:ext uri="{0D108BD9-81ED-4DB2-BD59-A6C34878D82A}">
                    <a16:rowId xmlns:a16="http://schemas.microsoft.com/office/drawing/2014/main" val="16434608"/>
                  </a:ext>
                </a:extLst>
              </a:tr>
              <a:tr h="370840">
                <a:tc>
                  <a:txBody>
                    <a:bodyPr/>
                    <a:lstStyle/>
                    <a:p>
                      <a:r>
                        <a:rPr lang="en-US"/>
                        <a:t>Miscellaneous Billing</a:t>
                      </a:r>
                    </a:p>
                  </a:txBody>
                  <a:tcPr/>
                </a:tc>
                <a:tc>
                  <a:txBody>
                    <a:bodyPr/>
                    <a:lstStyle/>
                    <a:p>
                      <a:r>
                        <a:rPr lang="en-US"/>
                        <a:t>No</a:t>
                      </a:r>
                    </a:p>
                  </a:txBody>
                  <a:tcPr/>
                </a:tc>
                <a:tc>
                  <a:txBody>
                    <a:bodyPr/>
                    <a:lstStyle/>
                    <a:p>
                      <a:r>
                        <a:rPr lang="en-US"/>
                        <a:t>Tested in UAT</a:t>
                      </a:r>
                    </a:p>
                  </a:txBody>
                  <a:tcPr/>
                </a:tc>
                <a:extLst>
                  <a:ext uri="{0D108BD9-81ED-4DB2-BD59-A6C34878D82A}">
                    <a16:rowId xmlns:a16="http://schemas.microsoft.com/office/drawing/2014/main" val="1084270548"/>
                  </a:ext>
                </a:extLst>
              </a:tr>
              <a:tr h="370840">
                <a:tc>
                  <a:txBody>
                    <a:bodyPr/>
                    <a:lstStyle/>
                    <a:p>
                      <a:r>
                        <a:rPr lang="en-US"/>
                        <a:t>Agency Fee (Payments)</a:t>
                      </a:r>
                    </a:p>
                  </a:txBody>
                  <a:tcPr/>
                </a:tc>
                <a:tc>
                  <a:txBody>
                    <a:bodyPr/>
                    <a:lstStyle/>
                    <a:p>
                      <a:r>
                        <a:rPr lang="en-US"/>
                        <a:t>Yes</a:t>
                      </a:r>
                    </a:p>
                  </a:txBody>
                  <a:tcPr/>
                </a:tc>
                <a:tc>
                  <a:txBody>
                    <a:bodyPr/>
                    <a:lstStyle/>
                    <a:p>
                      <a:r>
                        <a:rPr lang="en-US"/>
                        <a:t>Use data from TD Prod </a:t>
                      </a:r>
                    </a:p>
                  </a:txBody>
                  <a:tcPr/>
                </a:tc>
                <a:extLst>
                  <a:ext uri="{0D108BD9-81ED-4DB2-BD59-A6C34878D82A}">
                    <a16:rowId xmlns:a16="http://schemas.microsoft.com/office/drawing/2014/main" val="1446575058"/>
                  </a:ext>
                </a:extLst>
              </a:tr>
              <a:tr h="370840">
                <a:tc>
                  <a:txBody>
                    <a:bodyPr/>
                    <a:lstStyle/>
                    <a:p>
                      <a:r>
                        <a:rPr lang="en-US"/>
                        <a:t>Program Fees</a:t>
                      </a:r>
                    </a:p>
                  </a:txBody>
                  <a:tcPr/>
                </a:tc>
                <a:tc>
                  <a:txBody>
                    <a:bodyPr/>
                    <a:lstStyle/>
                    <a:p>
                      <a:r>
                        <a:rPr lang="en-US"/>
                        <a:t>Yes</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a:t>Prod. Orders from JDE</a:t>
                      </a:r>
                    </a:p>
                  </a:txBody>
                  <a:tcPr/>
                </a:tc>
                <a:extLst>
                  <a:ext uri="{0D108BD9-81ED-4DB2-BD59-A6C34878D82A}">
                    <a16:rowId xmlns:a16="http://schemas.microsoft.com/office/drawing/2014/main" val="2019294296"/>
                  </a:ext>
                </a:extLst>
              </a:tr>
              <a:tr h="370840">
                <a:tc>
                  <a:txBody>
                    <a:bodyPr/>
                    <a:lstStyle/>
                    <a:p>
                      <a:r>
                        <a:rPr lang="en-US"/>
                        <a:t>Warranty</a:t>
                      </a:r>
                    </a:p>
                  </a:txBody>
                  <a:tcPr/>
                </a:tc>
                <a:tc>
                  <a:txBody>
                    <a:bodyPr/>
                    <a:lstStyle/>
                    <a:p>
                      <a:r>
                        <a:rPr lang="en-US"/>
                        <a:t>Yes </a:t>
                      </a:r>
                    </a:p>
                  </a:txBody>
                  <a:tcPr/>
                </a:tc>
                <a:tc>
                  <a:txBody>
                    <a:bodyPr/>
                    <a:lstStyle/>
                    <a:p>
                      <a:r>
                        <a:rPr lang="en-US" dirty="0"/>
                        <a:t>Only like McBilling / Thirsty</a:t>
                      </a:r>
                    </a:p>
                  </a:txBody>
                  <a:tcPr/>
                </a:tc>
                <a:extLst>
                  <a:ext uri="{0D108BD9-81ED-4DB2-BD59-A6C34878D82A}">
                    <a16:rowId xmlns:a16="http://schemas.microsoft.com/office/drawing/2014/main" val="2527674013"/>
                  </a:ext>
                </a:extLst>
              </a:tr>
            </a:tbl>
          </a:graphicData>
        </a:graphic>
      </p:graphicFrame>
      <p:sp>
        <p:nvSpPr>
          <p:cNvPr id="6" name="TextBox 5">
            <a:extLst>
              <a:ext uri="{FF2B5EF4-FFF2-40B4-BE49-F238E27FC236}">
                <a16:creationId xmlns:a16="http://schemas.microsoft.com/office/drawing/2014/main" id="{C5B5E9A6-487A-42B3-B3A7-7C9A2525EAB7}"/>
              </a:ext>
            </a:extLst>
          </p:cNvPr>
          <p:cNvSpPr txBox="1"/>
          <p:nvPr/>
        </p:nvSpPr>
        <p:spPr>
          <a:xfrm>
            <a:off x="7957264" y="2441601"/>
            <a:ext cx="4354471" cy="2862322"/>
          </a:xfrm>
          <a:prstGeom prst="rect">
            <a:avLst/>
          </a:prstGeom>
          <a:noFill/>
        </p:spPr>
        <p:txBody>
          <a:bodyPr wrap="square" rtlCol="0">
            <a:spAutoFit/>
          </a:bodyPr>
          <a:lstStyle/>
          <a:p>
            <a:pPr>
              <a:spcBef>
                <a:spcPts val="0"/>
              </a:spcBef>
              <a:spcAft>
                <a:spcPts val="0"/>
              </a:spcAft>
            </a:pPr>
            <a:endParaRPr lang="en-US" dirty="0">
              <a:solidFill>
                <a:schemeClr val="dk1"/>
              </a:solidFill>
            </a:endParaRPr>
          </a:p>
          <a:p>
            <a:pPr marL="742950" marR="0" lvl="1" indent="-285750">
              <a:spcBef>
                <a:spcPts val="0"/>
              </a:spcBef>
              <a:spcAft>
                <a:spcPts val="0"/>
              </a:spcAft>
              <a:buFont typeface="Wingdings" panose="05000000000000000000" pitchFamily="2" charset="2"/>
              <a:buChar char="§"/>
            </a:pPr>
            <a:r>
              <a:rPr lang="en-US" b="1" dirty="0">
                <a:solidFill>
                  <a:schemeClr val="dk1"/>
                </a:solidFill>
              </a:rPr>
              <a:t>Comparing invoices Service, Lease, Equipment sale</a:t>
            </a:r>
          </a:p>
          <a:p>
            <a:pPr marL="742950" marR="0" lvl="1" indent="-285750">
              <a:spcBef>
                <a:spcPts val="0"/>
              </a:spcBef>
              <a:spcAft>
                <a:spcPts val="0"/>
              </a:spcAft>
              <a:buFont typeface="Wingdings" panose="05000000000000000000" pitchFamily="2" charset="2"/>
              <a:buChar char="§"/>
            </a:pPr>
            <a:r>
              <a:rPr lang="en-US" b="1" dirty="0">
                <a:solidFill>
                  <a:schemeClr val="dk1"/>
                </a:solidFill>
              </a:rPr>
              <a:t>Comparing invoice line items</a:t>
            </a:r>
          </a:p>
          <a:p>
            <a:pPr marL="742950" marR="0" lvl="1" indent="-285750">
              <a:spcBef>
                <a:spcPts val="0"/>
              </a:spcBef>
              <a:spcAft>
                <a:spcPts val="0"/>
              </a:spcAft>
              <a:buFont typeface="Wingdings" panose="05000000000000000000" pitchFamily="2" charset="2"/>
              <a:buChar char="§"/>
            </a:pPr>
            <a:r>
              <a:rPr lang="en-US" b="1" dirty="0">
                <a:solidFill>
                  <a:schemeClr val="dk1"/>
                </a:solidFill>
              </a:rPr>
              <a:t>Validate program fees</a:t>
            </a:r>
          </a:p>
          <a:p>
            <a:pPr marL="742950" marR="0" lvl="1" indent="-285750">
              <a:spcBef>
                <a:spcPts val="0"/>
              </a:spcBef>
              <a:spcAft>
                <a:spcPts val="0"/>
              </a:spcAft>
              <a:buFont typeface="Wingdings" panose="05000000000000000000" pitchFamily="2" charset="2"/>
              <a:buChar char="§"/>
            </a:pPr>
            <a:r>
              <a:rPr lang="en-US" b="1" dirty="0">
                <a:solidFill>
                  <a:schemeClr val="dk1"/>
                </a:solidFill>
              </a:rPr>
              <a:t>Invoice calculations with MA</a:t>
            </a:r>
          </a:p>
          <a:p>
            <a:pPr marL="742950" marR="0" lvl="1" indent="-285750">
              <a:spcBef>
                <a:spcPts val="0"/>
              </a:spcBef>
              <a:spcAft>
                <a:spcPts val="0"/>
              </a:spcAft>
              <a:buFont typeface="Wingdings" panose="05000000000000000000" pitchFamily="2" charset="2"/>
              <a:buChar char="§"/>
            </a:pPr>
            <a:r>
              <a:rPr lang="en-US" b="1" dirty="0">
                <a:solidFill>
                  <a:schemeClr val="dk1"/>
                </a:solidFill>
              </a:rPr>
              <a:t>Agency volume and Payments</a:t>
            </a:r>
          </a:p>
          <a:p>
            <a:pPr marL="742950" marR="0" lvl="1" indent="-285750">
              <a:spcBef>
                <a:spcPts val="0"/>
              </a:spcBef>
              <a:spcAft>
                <a:spcPts val="0"/>
              </a:spcAft>
              <a:buFont typeface="Wingdings" panose="05000000000000000000" pitchFamily="2" charset="2"/>
              <a:buChar char="§"/>
            </a:pPr>
            <a:r>
              <a:rPr lang="en-US" b="1" dirty="0">
                <a:solidFill>
                  <a:schemeClr val="dk1"/>
                </a:solidFill>
              </a:rPr>
              <a:t>GL mapping - postings</a:t>
            </a:r>
          </a:p>
          <a:p>
            <a:pPr marL="742950" marR="0" lvl="1" indent="-285750">
              <a:spcBef>
                <a:spcPts val="0"/>
              </a:spcBef>
              <a:spcAft>
                <a:spcPts val="0"/>
              </a:spcAft>
              <a:buFont typeface="Wingdings" panose="05000000000000000000" pitchFamily="2" charset="2"/>
              <a:buChar char="§"/>
            </a:pPr>
            <a:r>
              <a:rPr lang="en-US" b="1" dirty="0">
                <a:solidFill>
                  <a:schemeClr val="dk1"/>
                </a:solidFill>
              </a:rPr>
              <a:t>Validate Tax calculation  </a:t>
            </a:r>
          </a:p>
          <a:p>
            <a:endParaRPr lang="en-US" dirty="0"/>
          </a:p>
        </p:txBody>
      </p:sp>
      <p:sp>
        <p:nvSpPr>
          <p:cNvPr id="7" name="TextBox 6">
            <a:extLst>
              <a:ext uri="{FF2B5EF4-FFF2-40B4-BE49-F238E27FC236}">
                <a16:creationId xmlns:a16="http://schemas.microsoft.com/office/drawing/2014/main" id="{7F5641D3-B5DC-4390-9453-E10E9F31374B}"/>
              </a:ext>
            </a:extLst>
          </p:cNvPr>
          <p:cNvSpPr txBox="1"/>
          <p:nvPr/>
        </p:nvSpPr>
        <p:spPr>
          <a:xfrm>
            <a:off x="8288771" y="1395884"/>
            <a:ext cx="3463702" cy="769441"/>
          </a:xfrm>
          <a:prstGeom prst="rect">
            <a:avLst/>
          </a:prstGeom>
          <a:noFill/>
        </p:spPr>
        <p:txBody>
          <a:bodyPr wrap="square" rtlCol="0">
            <a:spAutoFit/>
          </a:bodyPr>
          <a:lstStyle/>
          <a:p>
            <a:r>
              <a:rPr lang="en-US" sz="2400" b="1" dirty="0"/>
              <a:t>What are we validating?</a:t>
            </a:r>
            <a:endParaRPr lang="en-US" dirty="0"/>
          </a:p>
          <a:p>
            <a:pPr marL="285750" indent="-285750">
              <a:buFont typeface="Wingdings" panose="05000000000000000000" pitchFamily="2" charset="2"/>
              <a:buChar char="§"/>
            </a:pPr>
            <a:endParaRPr lang="en-US" sz="2000" dirty="0"/>
          </a:p>
        </p:txBody>
      </p:sp>
      <p:sp>
        <p:nvSpPr>
          <p:cNvPr id="9" name="Right Brace 8">
            <a:extLst>
              <a:ext uri="{FF2B5EF4-FFF2-40B4-BE49-F238E27FC236}">
                <a16:creationId xmlns:a16="http://schemas.microsoft.com/office/drawing/2014/main" id="{68DF193C-4E66-4DBE-BEF9-EBF49C0D4F1D}"/>
              </a:ext>
            </a:extLst>
          </p:cNvPr>
          <p:cNvSpPr/>
          <p:nvPr/>
        </p:nvSpPr>
        <p:spPr>
          <a:xfrm>
            <a:off x="7742578" y="2103086"/>
            <a:ext cx="651510" cy="4275680"/>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60388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2C2694-6C3F-471E-9100-072B2A9269D7}"/>
              </a:ext>
            </a:extLst>
          </p:cNvPr>
          <p:cNvSpPr>
            <a:spLocks noGrp="1"/>
          </p:cNvSpPr>
          <p:nvPr>
            <p:ph type="title"/>
          </p:nvPr>
        </p:nvSpPr>
        <p:spPr>
          <a:xfrm>
            <a:off x="344514" y="289367"/>
            <a:ext cx="11502972" cy="477579"/>
          </a:xfrm>
        </p:spPr>
        <p:txBody>
          <a:bodyPr/>
          <a:lstStyle/>
          <a:p>
            <a:r>
              <a:rPr lang="en-US" dirty="0"/>
              <a:t>UAT 3 BRIM</a:t>
            </a:r>
          </a:p>
        </p:txBody>
      </p:sp>
      <p:sp>
        <p:nvSpPr>
          <p:cNvPr id="2" name="TextBox 1">
            <a:extLst>
              <a:ext uri="{FF2B5EF4-FFF2-40B4-BE49-F238E27FC236}">
                <a16:creationId xmlns:a16="http://schemas.microsoft.com/office/drawing/2014/main" id="{FB49F2E7-10EF-443E-8D0D-D31FA155CDFB}"/>
              </a:ext>
            </a:extLst>
          </p:cNvPr>
          <p:cNvSpPr txBox="1"/>
          <p:nvPr/>
        </p:nvSpPr>
        <p:spPr>
          <a:xfrm>
            <a:off x="513709" y="700456"/>
            <a:ext cx="10952252" cy="1046440"/>
          </a:xfrm>
          <a:prstGeom prst="rect">
            <a:avLst/>
          </a:prstGeom>
          <a:noFill/>
        </p:spPr>
        <p:txBody>
          <a:bodyPr wrap="square" rtlCol="0">
            <a:spAutoFit/>
          </a:bodyPr>
          <a:lstStyle/>
          <a:p>
            <a:r>
              <a:rPr lang="en-US" sz="2400" b="1"/>
              <a:t>Business Process Scope - Reimbursement</a:t>
            </a:r>
          </a:p>
          <a:p>
            <a:endParaRPr lang="en-US"/>
          </a:p>
          <a:p>
            <a:pPr marL="285750" indent="-285750">
              <a:buFont typeface="Wingdings" panose="05000000000000000000" pitchFamily="2" charset="2"/>
              <a:buChar char="§"/>
            </a:pPr>
            <a:endParaRPr lang="en-US" sz="2000"/>
          </a:p>
        </p:txBody>
      </p:sp>
      <p:graphicFrame>
        <p:nvGraphicFramePr>
          <p:cNvPr id="4" name="Table 4">
            <a:extLst>
              <a:ext uri="{FF2B5EF4-FFF2-40B4-BE49-F238E27FC236}">
                <a16:creationId xmlns:a16="http://schemas.microsoft.com/office/drawing/2014/main" id="{AB25CB89-81C3-4B46-BE7A-A33AD595F71D}"/>
              </a:ext>
            </a:extLst>
          </p:cNvPr>
          <p:cNvGraphicFramePr>
            <a:graphicFrameLocks noGrp="1"/>
          </p:cNvGraphicFramePr>
          <p:nvPr>
            <p:extLst>
              <p:ext uri="{D42A27DB-BD31-4B8C-83A1-F6EECF244321}">
                <p14:modId xmlns:p14="http://schemas.microsoft.com/office/powerpoint/2010/main" val="1854561279"/>
              </p:ext>
            </p:extLst>
          </p:nvPr>
        </p:nvGraphicFramePr>
        <p:xfrm>
          <a:off x="363326" y="1144211"/>
          <a:ext cx="7362636" cy="5173970"/>
        </p:xfrm>
        <a:graphic>
          <a:graphicData uri="http://schemas.openxmlformats.org/drawingml/2006/table">
            <a:tbl>
              <a:tblPr firstRow="1" bandRow="1">
                <a:tableStyleId>{5C22544A-7EE6-4342-B048-85BDC9FD1C3A}</a:tableStyleId>
              </a:tblPr>
              <a:tblGrid>
                <a:gridCol w="3338341">
                  <a:extLst>
                    <a:ext uri="{9D8B030D-6E8A-4147-A177-3AD203B41FA5}">
                      <a16:colId xmlns:a16="http://schemas.microsoft.com/office/drawing/2014/main" val="4264492287"/>
                    </a:ext>
                  </a:extLst>
                </a:gridCol>
                <a:gridCol w="1200839">
                  <a:extLst>
                    <a:ext uri="{9D8B030D-6E8A-4147-A177-3AD203B41FA5}">
                      <a16:colId xmlns:a16="http://schemas.microsoft.com/office/drawing/2014/main" val="705432711"/>
                    </a:ext>
                  </a:extLst>
                </a:gridCol>
                <a:gridCol w="2823456">
                  <a:extLst>
                    <a:ext uri="{9D8B030D-6E8A-4147-A177-3AD203B41FA5}">
                      <a16:colId xmlns:a16="http://schemas.microsoft.com/office/drawing/2014/main" val="2258748386"/>
                    </a:ext>
                  </a:extLst>
                </a:gridCol>
              </a:tblGrid>
              <a:tr h="556250">
                <a:tc>
                  <a:txBody>
                    <a:bodyPr/>
                    <a:lstStyle/>
                    <a:p>
                      <a:r>
                        <a:rPr lang="en-US"/>
                        <a:t>Business Process</a:t>
                      </a:r>
                    </a:p>
                  </a:txBody>
                  <a:tcPr/>
                </a:tc>
                <a:tc>
                  <a:txBody>
                    <a:bodyPr/>
                    <a:lstStyle/>
                    <a:p>
                      <a:r>
                        <a:rPr lang="en-US"/>
                        <a:t>In Scope?</a:t>
                      </a:r>
                    </a:p>
                  </a:txBody>
                  <a:tcPr/>
                </a:tc>
                <a:tc>
                  <a:txBody>
                    <a:bodyPr/>
                    <a:lstStyle/>
                    <a:p>
                      <a:r>
                        <a:rPr lang="en-US"/>
                        <a:t>Comment</a:t>
                      </a:r>
                    </a:p>
                  </a:txBody>
                  <a:tcPr/>
                </a:tc>
                <a:extLst>
                  <a:ext uri="{0D108BD9-81ED-4DB2-BD59-A6C34878D82A}">
                    <a16:rowId xmlns:a16="http://schemas.microsoft.com/office/drawing/2014/main" val="1487312176"/>
                  </a:ext>
                </a:extLst>
              </a:tr>
              <a:tr h="370840">
                <a:tc>
                  <a:txBody>
                    <a:bodyPr/>
                    <a:lstStyle/>
                    <a:p>
                      <a:r>
                        <a:rPr lang="en-US"/>
                        <a:t>Fixed Fund</a:t>
                      </a:r>
                    </a:p>
                  </a:txBody>
                  <a:tcPr/>
                </a:tc>
                <a:tc>
                  <a:txBody>
                    <a:bodyPr/>
                    <a:lstStyle/>
                    <a:p>
                      <a:r>
                        <a:rPr lang="en-US"/>
                        <a:t>Yes</a:t>
                      </a:r>
                    </a:p>
                  </a:txBody>
                  <a:tcPr/>
                </a:tc>
                <a:tc>
                  <a:txBody>
                    <a:bodyPr/>
                    <a:lstStyle/>
                    <a:p>
                      <a:r>
                        <a:rPr lang="en-US"/>
                        <a:t>Set up in MA</a:t>
                      </a:r>
                    </a:p>
                  </a:txBody>
                  <a:tcPr/>
                </a:tc>
                <a:extLst>
                  <a:ext uri="{0D108BD9-81ED-4DB2-BD59-A6C34878D82A}">
                    <a16:rowId xmlns:a16="http://schemas.microsoft.com/office/drawing/2014/main" val="3025734440"/>
                  </a:ext>
                </a:extLst>
              </a:tr>
              <a:tr h="370840">
                <a:tc>
                  <a:txBody>
                    <a:bodyPr/>
                    <a:lstStyle/>
                    <a:p>
                      <a:r>
                        <a:rPr lang="en-US"/>
                        <a:t>Variable Fund</a:t>
                      </a:r>
                    </a:p>
                  </a:txBody>
                  <a:tcPr/>
                </a:tc>
                <a:tc>
                  <a:txBody>
                    <a:bodyPr/>
                    <a:lstStyle/>
                    <a:p>
                      <a:r>
                        <a:rPr lang="en-US"/>
                        <a:t>Yes</a:t>
                      </a:r>
                    </a:p>
                  </a:txBody>
                  <a:tcPr/>
                </a:tc>
                <a:tc>
                  <a:txBody>
                    <a:bodyPr/>
                    <a:lstStyle/>
                    <a:p>
                      <a:r>
                        <a:rPr lang="en-US"/>
                        <a:t>Set up in MA</a:t>
                      </a:r>
                    </a:p>
                  </a:txBody>
                  <a:tcPr/>
                </a:tc>
                <a:extLst>
                  <a:ext uri="{0D108BD9-81ED-4DB2-BD59-A6C34878D82A}">
                    <a16:rowId xmlns:a16="http://schemas.microsoft.com/office/drawing/2014/main" val="549392408"/>
                  </a:ext>
                </a:extLst>
              </a:tr>
              <a:tr h="370840">
                <a:tc>
                  <a:txBody>
                    <a:bodyPr/>
                    <a:lstStyle/>
                    <a:p>
                      <a:r>
                        <a:rPr lang="en-US"/>
                        <a:t>Growth Fund</a:t>
                      </a:r>
                    </a:p>
                  </a:txBody>
                  <a:tcPr/>
                </a:tc>
                <a:tc>
                  <a:txBody>
                    <a:bodyPr/>
                    <a:lstStyle/>
                    <a:p>
                      <a:r>
                        <a:rPr lang="en-US"/>
                        <a:t>Yes</a:t>
                      </a:r>
                    </a:p>
                  </a:txBody>
                  <a:tcPr/>
                </a:tc>
                <a:tc>
                  <a:txBody>
                    <a:bodyPr/>
                    <a:lstStyle/>
                    <a:p>
                      <a:r>
                        <a:rPr lang="en-US"/>
                        <a:t>Set up in MA</a:t>
                      </a:r>
                    </a:p>
                  </a:txBody>
                  <a:tcPr/>
                </a:tc>
                <a:extLst>
                  <a:ext uri="{0D108BD9-81ED-4DB2-BD59-A6C34878D82A}">
                    <a16:rowId xmlns:a16="http://schemas.microsoft.com/office/drawing/2014/main" val="1523482124"/>
                  </a:ext>
                </a:extLst>
              </a:tr>
              <a:tr h="370840">
                <a:tc>
                  <a:txBody>
                    <a:bodyPr/>
                    <a:lstStyle/>
                    <a:p>
                      <a:r>
                        <a:rPr lang="en-US">
                          <a:highlight>
                            <a:srgbClr val="FFFF00"/>
                          </a:highlight>
                        </a:rPr>
                        <a:t>Advance Fund and Reconciliation</a:t>
                      </a:r>
                    </a:p>
                  </a:txBody>
                  <a:tcPr/>
                </a:tc>
                <a:tc>
                  <a:txBody>
                    <a:bodyPr/>
                    <a:lstStyle/>
                    <a:p>
                      <a:r>
                        <a:rPr lang="en-US">
                          <a:highlight>
                            <a:srgbClr val="FFFF00"/>
                          </a:highlight>
                        </a:rPr>
                        <a:t>Yes</a:t>
                      </a:r>
                    </a:p>
                  </a:txBody>
                  <a:tcPr/>
                </a:tc>
                <a:tc>
                  <a:txBody>
                    <a:bodyPr/>
                    <a:lstStyle/>
                    <a:p>
                      <a:r>
                        <a:rPr lang="en-US" dirty="0">
                          <a:highlight>
                            <a:srgbClr val="FFFF00"/>
                          </a:highlight>
                        </a:rPr>
                        <a:t>Scorecard Process ?</a:t>
                      </a:r>
                    </a:p>
                  </a:txBody>
                  <a:tcPr/>
                </a:tc>
                <a:extLst>
                  <a:ext uri="{0D108BD9-81ED-4DB2-BD59-A6C34878D82A}">
                    <a16:rowId xmlns:a16="http://schemas.microsoft.com/office/drawing/2014/main" val="1084270548"/>
                  </a:ext>
                </a:extLst>
              </a:tr>
              <a:tr h="370840">
                <a:tc>
                  <a:txBody>
                    <a:bodyPr/>
                    <a:lstStyle/>
                    <a:p>
                      <a:r>
                        <a:rPr lang="en-US" dirty="0">
                          <a:highlight>
                            <a:srgbClr val="FFFF00"/>
                          </a:highlight>
                        </a:rPr>
                        <a:t>Manual Fund</a:t>
                      </a:r>
                    </a:p>
                  </a:txBody>
                  <a:tcPr/>
                </a:tc>
                <a:tc>
                  <a:txBody>
                    <a:bodyPr/>
                    <a:lstStyle/>
                    <a:p>
                      <a:r>
                        <a:rPr lang="en-US" dirty="0">
                          <a:highlight>
                            <a:srgbClr val="FFFF00"/>
                          </a:highlight>
                        </a:rPr>
                        <a:t>No </a:t>
                      </a:r>
                    </a:p>
                  </a:txBody>
                  <a:tcPr/>
                </a:tc>
                <a:tc>
                  <a:txBody>
                    <a:bodyPr/>
                    <a:lstStyle/>
                    <a:p>
                      <a:r>
                        <a:rPr lang="en-US" dirty="0">
                          <a:highlight>
                            <a:srgbClr val="FFFF00"/>
                          </a:highlight>
                        </a:rPr>
                        <a:t>No comparison  </a:t>
                      </a:r>
                    </a:p>
                  </a:txBody>
                  <a:tcPr/>
                </a:tc>
                <a:extLst>
                  <a:ext uri="{0D108BD9-81ED-4DB2-BD59-A6C34878D82A}">
                    <a16:rowId xmlns:a16="http://schemas.microsoft.com/office/drawing/2014/main" val="3276360689"/>
                  </a:ext>
                </a:extLst>
              </a:tr>
              <a:tr h="370840">
                <a:tc>
                  <a:txBody>
                    <a:bodyPr/>
                    <a:lstStyle/>
                    <a:p>
                      <a:r>
                        <a:rPr lang="en-US"/>
                        <a:t>Scorecard Processing </a:t>
                      </a:r>
                    </a:p>
                  </a:txBody>
                  <a:tcPr/>
                </a:tc>
                <a:tc>
                  <a:txBody>
                    <a:bodyPr/>
                    <a:lstStyle/>
                    <a:p>
                      <a:r>
                        <a:rPr lang="en-US"/>
                        <a:t>Yes</a:t>
                      </a:r>
                    </a:p>
                  </a:txBody>
                  <a:tcPr/>
                </a:tc>
                <a:tc>
                  <a:txBody>
                    <a:bodyPr/>
                    <a:lstStyle/>
                    <a:p>
                      <a:r>
                        <a:rPr lang="en-US"/>
                        <a:t>Prod. Volume Data from TD</a:t>
                      </a:r>
                    </a:p>
                  </a:txBody>
                  <a:tcPr/>
                </a:tc>
                <a:extLst>
                  <a:ext uri="{0D108BD9-81ED-4DB2-BD59-A6C34878D82A}">
                    <a16:rowId xmlns:a16="http://schemas.microsoft.com/office/drawing/2014/main" val="3193692956"/>
                  </a:ext>
                </a:extLst>
              </a:tr>
              <a:tr h="370840">
                <a:tc>
                  <a:txBody>
                    <a:bodyPr/>
                    <a:lstStyle/>
                    <a:p>
                      <a:r>
                        <a:rPr lang="en-US"/>
                        <a:t>Deduction Processing (incl. open manual future deductions)</a:t>
                      </a:r>
                    </a:p>
                  </a:txBody>
                  <a:tcPr/>
                </a:tc>
                <a:tc>
                  <a:txBody>
                    <a:bodyPr/>
                    <a:lstStyle/>
                    <a:p>
                      <a:r>
                        <a:rPr lang="en-US"/>
                        <a:t>Yes</a:t>
                      </a:r>
                    </a:p>
                  </a:txBody>
                  <a:tcPr/>
                </a:tc>
                <a:tc>
                  <a:txBody>
                    <a:bodyPr/>
                    <a:lstStyle/>
                    <a:p>
                      <a:pPr marL="342900" indent="-342900">
                        <a:buAutoNum type="arabicPeriod"/>
                      </a:pPr>
                      <a:r>
                        <a:rPr lang="en-US"/>
                        <a:t>File load provided by FS</a:t>
                      </a:r>
                    </a:p>
                    <a:p>
                      <a:pPr marL="342900" indent="-342900">
                        <a:buAutoNum type="arabicPeriod"/>
                      </a:pPr>
                      <a:r>
                        <a:rPr lang="en-US"/>
                        <a:t>Open aged AR migration</a:t>
                      </a:r>
                    </a:p>
                  </a:txBody>
                  <a:tcPr/>
                </a:tc>
                <a:extLst>
                  <a:ext uri="{0D108BD9-81ED-4DB2-BD59-A6C34878D82A}">
                    <a16:rowId xmlns:a16="http://schemas.microsoft.com/office/drawing/2014/main" val="589148937"/>
                  </a:ext>
                </a:extLst>
              </a:tr>
              <a:tr h="370840">
                <a:tc>
                  <a:txBody>
                    <a:bodyPr/>
                    <a:lstStyle/>
                    <a:p>
                      <a:r>
                        <a:rPr lang="en-US">
                          <a:highlight>
                            <a:srgbClr val="FFFF00"/>
                          </a:highlight>
                        </a:rPr>
                        <a:t>2023 Advance upload</a:t>
                      </a:r>
                    </a:p>
                  </a:txBody>
                  <a:tcPr/>
                </a:tc>
                <a:tc>
                  <a:txBody>
                    <a:bodyPr/>
                    <a:lstStyle/>
                    <a:p>
                      <a:r>
                        <a:rPr lang="en-US" dirty="0">
                          <a:highlight>
                            <a:srgbClr val="FFFF00"/>
                          </a:highlight>
                        </a:rPr>
                        <a:t>No</a:t>
                      </a:r>
                    </a:p>
                  </a:txBody>
                  <a:tcPr/>
                </a:tc>
                <a:tc>
                  <a:txBody>
                    <a:bodyPr/>
                    <a:lstStyle/>
                    <a:p>
                      <a:pPr marL="0" indent="0">
                        <a:buNone/>
                      </a:pPr>
                      <a:r>
                        <a:rPr lang="en-US" dirty="0">
                          <a:highlight>
                            <a:srgbClr val="FFFF00"/>
                          </a:highlight>
                        </a:rPr>
                        <a:t>H1 advances?</a:t>
                      </a:r>
                    </a:p>
                  </a:txBody>
                  <a:tcPr/>
                </a:tc>
                <a:extLst>
                  <a:ext uri="{0D108BD9-81ED-4DB2-BD59-A6C34878D82A}">
                    <a16:rowId xmlns:a16="http://schemas.microsoft.com/office/drawing/2014/main" val="433918413"/>
                  </a:ext>
                </a:extLst>
              </a:tr>
              <a:tr h="370840">
                <a:tc>
                  <a:txBody>
                    <a:bodyPr/>
                    <a:lstStyle/>
                    <a:p>
                      <a:r>
                        <a:rPr lang="en-US"/>
                        <a:t>RAP Scorecard (fast track)</a:t>
                      </a:r>
                    </a:p>
                  </a:txBody>
                  <a:tcPr/>
                </a:tc>
                <a:tc>
                  <a:txBody>
                    <a:bodyPr/>
                    <a:lstStyle/>
                    <a:p>
                      <a:r>
                        <a:rPr lang="en-US"/>
                        <a:t>No</a:t>
                      </a:r>
                    </a:p>
                  </a:txBody>
                  <a:tcPr/>
                </a:tc>
                <a:tc>
                  <a:txBody>
                    <a:bodyPr/>
                    <a:lstStyle/>
                    <a:p>
                      <a:r>
                        <a:rPr lang="en-US" dirty="0"/>
                        <a:t>Tested in UAT</a:t>
                      </a:r>
                    </a:p>
                  </a:txBody>
                  <a:tcPr/>
                </a:tc>
                <a:extLst>
                  <a:ext uri="{0D108BD9-81ED-4DB2-BD59-A6C34878D82A}">
                    <a16:rowId xmlns:a16="http://schemas.microsoft.com/office/drawing/2014/main" val="548973647"/>
                  </a:ext>
                </a:extLst>
              </a:tr>
              <a:tr h="370840">
                <a:tc>
                  <a:txBody>
                    <a:bodyPr/>
                    <a:lstStyle/>
                    <a:p>
                      <a:r>
                        <a:rPr lang="en-US" dirty="0">
                          <a:highlight>
                            <a:srgbClr val="FFFF00"/>
                          </a:highlight>
                        </a:rPr>
                        <a:t>On demand, supplemental and prior period score card</a:t>
                      </a:r>
                    </a:p>
                  </a:txBody>
                  <a:tcPr/>
                </a:tc>
                <a:tc>
                  <a:txBody>
                    <a:bodyPr/>
                    <a:lstStyle/>
                    <a:p>
                      <a:r>
                        <a:rPr lang="en-US" dirty="0">
                          <a:highlight>
                            <a:srgbClr val="FFFF00"/>
                          </a:highlight>
                        </a:rPr>
                        <a:t>Yes</a:t>
                      </a:r>
                    </a:p>
                  </a:txBody>
                  <a:tcPr/>
                </a:tc>
                <a:tc>
                  <a:txBody>
                    <a:bodyPr/>
                    <a:lstStyle/>
                    <a:p>
                      <a:r>
                        <a:rPr lang="en-US" dirty="0">
                          <a:highlight>
                            <a:srgbClr val="FFFF00"/>
                          </a:highlight>
                        </a:rPr>
                        <a:t>Prod. Volume data from TD</a:t>
                      </a:r>
                    </a:p>
                  </a:txBody>
                  <a:tcPr/>
                </a:tc>
                <a:extLst>
                  <a:ext uri="{0D108BD9-81ED-4DB2-BD59-A6C34878D82A}">
                    <a16:rowId xmlns:a16="http://schemas.microsoft.com/office/drawing/2014/main" val="1210579229"/>
                  </a:ext>
                </a:extLst>
              </a:tr>
              <a:tr h="370840">
                <a:tc>
                  <a:txBody>
                    <a:bodyPr/>
                    <a:lstStyle/>
                    <a:p>
                      <a:r>
                        <a:rPr lang="en-US"/>
                        <a:t>MF Open Scorecard migration</a:t>
                      </a:r>
                    </a:p>
                  </a:txBody>
                  <a:tcPr/>
                </a:tc>
                <a:tc>
                  <a:txBody>
                    <a:bodyPr/>
                    <a:lstStyle/>
                    <a:p>
                      <a:r>
                        <a:rPr lang="en-US"/>
                        <a:t>No</a:t>
                      </a:r>
                    </a:p>
                  </a:txBody>
                  <a:tcPr/>
                </a:tc>
                <a:tc>
                  <a:txBody>
                    <a:bodyPr/>
                    <a:lstStyle/>
                    <a:p>
                      <a:r>
                        <a:rPr lang="en-US" dirty="0"/>
                        <a:t>N/A</a:t>
                      </a:r>
                    </a:p>
                  </a:txBody>
                  <a:tcPr/>
                </a:tc>
                <a:extLst>
                  <a:ext uri="{0D108BD9-81ED-4DB2-BD59-A6C34878D82A}">
                    <a16:rowId xmlns:a16="http://schemas.microsoft.com/office/drawing/2014/main" val="126467694"/>
                  </a:ext>
                </a:extLst>
              </a:tr>
            </a:tbl>
          </a:graphicData>
        </a:graphic>
      </p:graphicFrame>
      <p:sp>
        <p:nvSpPr>
          <p:cNvPr id="3" name="TextBox 2">
            <a:extLst>
              <a:ext uri="{FF2B5EF4-FFF2-40B4-BE49-F238E27FC236}">
                <a16:creationId xmlns:a16="http://schemas.microsoft.com/office/drawing/2014/main" id="{18E17D00-A76C-42B2-B2C9-3D88AA556EEF}"/>
              </a:ext>
            </a:extLst>
          </p:cNvPr>
          <p:cNvSpPr txBox="1"/>
          <p:nvPr/>
        </p:nvSpPr>
        <p:spPr>
          <a:xfrm>
            <a:off x="7840951" y="2245954"/>
            <a:ext cx="4006535" cy="3970318"/>
          </a:xfrm>
          <a:prstGeom prst="rect">
            <a:avLst/>
          </a:prstGeom>
          <a:noFill/>
        </p:spPr>
        <p:txBody>
          <a:bodyPr wrap="square" rtlCol="0">
            <a:spAutoFit/>
          </a:bodyPr>
          <a:lstStyle/>
          <a:p>
            <a:pPr>
              <a:spcBef>
                <a:spcPts val="0"/>
              </a:spcBef>
              <a:spcAft>
                <a:spcPts val="0"/>
              </a:spcAft>
            </a:pPr>
            <a:endParaRPr lang="en-US">
              <a:solidFill>
                <a:schemeClr val="dk1"/>
              </a:solidFill>
            </a:endParaRPr>
          </a:p>
          <a:p>
            <a:pPr marL="742950" marR="0" lvl="1" indent="-285750">
              <a:spcBef>
                <a:spcPts val="0"/>
              </a:spcBef>
              <a:spcAft>
                <a:spcPts val="0"/>
              </a:spcAft>
              <a:buFont typeface="Wingdings" panose="05000000000000000000" pitchFamily="2" charset="2"/>
              <a:buChar char="§"/>
            </a:pPr>
            <a:r>
              <a:rPr lang="en-US" b="1">
                <a:solidFill>
                  <a:schemeClr val="dk1"/>
                </a:solidFill>
              </a:rPr>
              <a:t>Advanced Funds</a:t>
            </a:r>
          </a:p>
          <a:p>
            <a:pPr marL="742950" marR="0" lvl="1" indent="-285750">
              <a:spcBef>
                <a:spcPts val="0"/>
              </a:spcBef>
              <a:spcAft>
                <a:spcPts val="0"/>
              </a:spcAft>
              <a:buFont typeface="Wingdings" panose="05000000000000000000" pitchFamily="2" charset="2"/>
              <a:buChar char="§"/>
            </a:pPr>
            <a:r>
              <a:rPr lang="en-US" b="1">
                <a:solidFill>
                  <a:schemeClr val="dk1"/>
                </a:solidFill>
              </a:rPr>
              <a:t>Reconciliation results (Shortfall / Overage)</a:t>
            </a:r>
          </a:p>
          <a:p>
            <a:pPr marL="742950" marR="0" lvl="1" indent="-285750">
              <a:spcBef>
                <a:spcPts val="0"/>
              </a:spcBef>
              <a:spcAft>
                <a:spcPts val="0"/>
              </a:spcAft>
              <a:buFont typeface="Wingdings" panose="05000000000000000000" pitchFamily="2" charset="2"/>
              <a:buChar char="§"/>
            </a:pPr>
            <a:r>
              <a:rPr lang="en-US" b="1">
                <a:solidFill>
                  <a:schemeClr val="dk1"/>
                </a:solidFill>
              </a:rPr>
              <a:t>Arrears Funds</a:t>
            </a:r>
          </a:p>
          <a:p>
            <a:pPr marL="742950" marR="0" lvl="1" indent="-285750">
              <a:spcBef>
                <a:spcPts val="0"/>
              </a:spcBef>
              <a:spcAft>
                <a:spcPts val="0"/>
              </a:spcAft>
              <a:buFont typeface="Wingdings" panose="05000000000000000000" pitchFamily="2" charset="2"/>
              <a:buChar char="§"/>
            </a:pPr>
            <a:r>
              <a:rPr lang="en-US" b="1">
                <a:solidFill>
                  <a:schemeClr val="dk1"/>
                </a:solidFill>
              </a:rPr>
              <a:t>Deductions</a:t>
            </a:r>
          </a:p>
          <a:p>
            <a:pPr marL="742950" marR="0" lvl="1" indent="-285750">
              <a:spcBef>
                <a:spcPts val="0"/>
              </a:spcBef>
              <a:spcAft>
                <a:spcPts val="0"/>
              </a:spcAft>
              <a:buFont typeface="Wingdings" panose="05000000000000000000" pitchFamily="2" charset="2"/>
              <a:buChar char="§"/>
            </a:pPr>
            <a:r>
              <a:rPr lang="en-US" b="1">
                <a:solidFill>
                  <a:schemeClr val="dk1"/>
                </a:solidFill>
              </a:rPr>
              <a:t>Aged A/R</a:t>
            </a:r>
          </a:p>
          <a:p>
            <a:pPr marL="742950" marR="0" lvl="1" indent="-285750">
              <a:spcBef>
                <a:spcPts val="0"/>
              </a:spcBef>
              <a:spcAft>
                <a:spcPts val="0"/>
              </a:spcAft>
              <a:buFont typeface="Wingdings" panose="05000000000000000000" pitchFamily="2" charset="2"/>
              <a:buChar char="§"/>
            </a:pPr>
            <a:r>
              <a:rPr lang="en-US" b="1">
                <a:solidFill>
                  <a:schemeClr val="dk1"/>
                </a:solidFill>
              </a:rPr>
              <a:t>Volume for reimbursements</a:t>
            </a:r>
          </a:p>
          <a:p>
            <a:pPr marL="742950" marR="0" lvl="1" indent="-285750">
              <a:spcBef>
                <a:spcPts val="0"/>
              </a:spcBef>
              <a:spcAft>
                <a:spcPts val="0"/>
              </a:spcAft>
              <a:buFont typeface="Wingdings" panose="05000000000000000000" pitchFamily="2" charset="2"/>
              <a:buChar char="§"/>
            </a:pPr>
            <a:r>
              <a:rPr lang="en-US" b="1">
                <a:solidFill>
                  <a:schemeClr val="dk1"/>
                </a:solidFill>
              </a:rPr>
              <a:t>Outlet Details Export</a:t>
            </a:r>
          </a:p>
          <a:p>
            <a:pPr marL="742950" marR="0" lvl="1" indent="-285750">
              <a:spcBef>
                <a:spcPts val="0"/>
              </a:spcBef>
              <a:spcAft>
                <a:spcPts val="0"/>
              </a:spcAft>
              <a:buFont typeface="Wingdings" panose="05000000000000000000" pitchFamily="2" charset="2"/>
              <a:buChar char="§"/>
            </a:pPr>
            <a:r>
              <a:rPr lang="en-US" b="1">
                <a:solidFill>
                  <a:schemeClr val="dk1"/>
                </a:solidFill>
              </a:rPr>
              <a:t>Fund to GL mapping</a:t>
            </a:r>
          </a:p>
          <a:p>
            <a:pPr marL="742950" marR="0" lvl="1" indent="-285750">
              <a:spcBef>
                <a:spcPts val="0"/>
              </a:spcBef>
              <a:spcAft>
                <a:spcPts val="0"/>
              </a:spcAft>
              <a:buFont typeface="Wingdings" panose="05000000000000000000" pitchFamily="2" charset="2"/>
              <a:buChar char="§"/>
            </a:pPr>
            <a:r>
              <a:rPr lang="en-US" b="1">
                <a:solidFill>
                  <a:schemeClr val="dk1"/>
                </a:solidFill>
              </a:rPr>
              <a:t>Account team validations</a:t>
            </a:r>
          </a:p>
          <a:p>
            <a:pPr marL="742950" marR="0" lvl="1" indent="-285750">
              <a:spcBef>
                <a:spcPts val="0"/>
              </a:spcBef>
              <a:spcAft>
                <a:spcPts val="0"/>
              </a:spcAft>
              <a:buFont typeface="Wingdings" panose="05000000000000000000" pitchFamily="2" charset="2"/>
              <a:buChar char="§"/>
            </a:pPr>
            <a:r>
              <a:rPr lang="en-US" b="1">
                <a:solidFill>
                  <a:schemeClr val="dk1"/>
                </a:solidFill>
              </a:rPr>
              <a:t>COA level validation</a:t>
            </a:r>
          </a:p>
          <a:p>
            <a:pPr marL="742950" marR="0" lvl="1" indent="-285750">
              <a:spcBef>
                <a:spcPts val="0"/>
              </a:spcBef>
              <a:spcAft>
                <a:spcPts val="0"/>
              </a:spcAft>
              <a:buFont typeface="Wingdings" panose="05000000000000000000" pitchFamily="2" charset="2"/>
              <a:buChar char="§"/>
            </a:pPr>
            <a:r>
              <a:rPr lang="en-US" b="1">
                <a:solidFill>
                  <a:schemeClr val="dk1"/>
                </a:solidFill>
              </a:rPr>
              <a:t>Reporting</a:t>
            </a:r>
          </a:p>
          <a:p>
            <a:endParaRPr lang="en-US"/>
          </a:p>
        </p:txBody>
      </p:sp>
      <p:sp>
        <p:nvSpPr>
          <p:cNvPr id="7" name="TextBox 6">
            <a:extLst>
              <a:ext uri="{FF2B5EF4-FFF2-40B4-BE49-F238E27FC236}">
                <a16:creationId xmlns:a16="http://schemas.microsoft.com/office/drawing/2014/main" id="{CD38D13B-DFEB-4732-A9E0-A7A34817B23B}"/>
              </a:ext>
            </a:extLst>
          </p:cNvPr>
          <p:cNvSpPr txBox="1"/>
          <p:nvPr/>
        </p:nvSpPr>
        <p:spPr>
          <a:xfrm>
            <a:off x="8227129" y="1510184"/>
            <a:ext cx="2737665" cy="1138773"/>
          </a:xfrm>
          <a:prstGeom prst="rect">
            <a:avLst/>
          </a:prstGeom>
          <a:noFill/>
        </p:spPr>
        <p:txBody>
          <a:bodyPr wrap="square" rtlCol="0">
            <a:spAutoFit/>
          </a:bodyPr>
          <a:lstStyle/>
          <a:p>
            <a:r>
              <a:rPr lang="en-US" sz="2400" b="1"/>
              <a:t>What are we validating?</a:t>
            </a:r>
            <a:endParaRPr lang="en-US"/>
          </a:p>
          <a:p>
            <a:pPr marL="285750" indent="-285750">
              <a:buFont typeface="Wingdings" panose="05000000000000000000" pitchFamily="2" charset="2"/>
              <a:buChar char="§"/>
            </a:pPr>
            <a:endParaRPr lang="en-US" sz="2000"/>
          </a:p>
        </p:txBody>
      </p:sp>
      <p:sp>
        <p:nvSpPr>
          <p:cNvPr id="6" name="Right Brace 5">
            <a:extLst>
              <a:ext uri="{FF2B5EF4-FFF2-40B4-BE49-F238E27FC236}">
                <a16:creationId xmlns:a16="http://schemas.microsoft.com/office/drawing/2014/main" id="{2DB2F9D3-BDCE-4850-AC32-192147C64089}"/>
              </a:ext>
            </a:extLst>
          </p:cNvPr>
          <p:cNvSpPr/>
          <p:nvPr/>
        </p:nvSpPr>
        <p:spPr>
          <a:xfrm>
            <a:off x="7759188" y="2073549"/>
            <a:ext cx="514945" cy="4127183"/>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6035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2C2694-6C3F-471E-9100-072B2A9269D7}"/>
              </a:ext>
            </a:extLst>
          </p:cNvPr>
          <p:cNvSpPr>
            <a:spLocks noGrp="1"/>
          </p:cNvSpPr>
          <p:nvPr>
            <p:ph type="title"/>
          </p:nvPr>
        </p:nvSpPr>
        <p:spPr>
          <a:xfrm>
            <a:off x="344514" y="217447"/>
            <a:ext cx="11502972" cy="477579"/>
          </a:xfrm>
        </p:spPr>
        <p:txBody>
          <a:bodyPr/>
          <a:lstStyle/>
          <a:p>
            <a:r>
              <a:rPr lang="en-US" dirty="0"/>
              <a:t>UAT 3 in BRIM</a:t>
            </a:r>
          </a:p>
        </p:txBody>
      </p:sp>
      <p:sp>
        <p:nvSpPr>
          <p:cNvPr id="2" name="TextBox 1">
            <a:extLst>
              <a:ext uri="{FF2B5EF4-FFF2-40B4-BE49-F238E27FC236}">
                <a16:creationId xmlns:a16="http://schemas.microsoft.com/office/drawing/2014/main" id="{FB49F2E7-10EF-443E-8D0D-D31FA155CDFB}"/>
              </a:ext>
            </a:extLst>
          </p:cNvPr>
          <p:cNvSpPr txBox="1"/>
          <p:nvPr/>
        </p:nvSpPr>
        <p:spPr>
          <a:xfrm>
            <a:off x="513709" y="843677"/>
            <a:ext cx="10952252" cy="1046440"/>
          </a:xfrm>
          <a:prstGeom prst="rect">
            <a:avLst/>
          </a:prstGeom>
          <a:noFill/>
        </p:spPr>
        <p:txBody>
          <a:bodyPr wrap="square" rtlCol="0">
            <a:spAutoFit/>
          </a:bodyPr>
          <a:lstStyle/>
          <a:p>
            <a:r>
              <a:rPr lang="en-US" sz="2400" b="1"/>
              <a:t>Business Process Scope – FICA (AP/AR)</a:t>
            </a:r>
          </a:p>
          <a:p>
            <a:endParaRPr lang="en-US"/>
          </a:p>
          <a:p>
            <a:pPr marL="285750" indent="-285750">
              <a:buFont typeface="Wingdings" panose="05000000000000000000" pitchFamily="2" charset="2"/>
              <a:buChar char="§"/>
            </a:pPr>
            <a:endParaRPr lang="en-US" sz="2000"/>
          </a:p>
        </p:txBody>
      </p:sp>
      <p:graphicFrame>
        <p:nvGraphicFramePr>
          <p:cNvPr id="4" name="Table 4">
            <a:extLst>
              <a:ext uri="{FF2B5EF4-FFF2-40B4-BE49-F238E27FC236}">
                <a16:creationId xmlns:a16="http://schemas.microsoft.com/office/drawing/2014/main" id="{AB25CB89-81C3-4B46-BE7A-A33AD595F71D}"/>
              </a:ext>
            </a:extLst>
          </p:cNvPr>
          <p:cNvGraphicFramePr>
            <a:graphicFrameLocks noGrp="1"/>
          </p:cNvGraphicFramePr>
          <p:nvPr>
            <p:extLst>
              <p:ext uri="{D42A27DB-BD31-4B8C-83A1-F6EECF244321}">
                <p14:modId xmlns:p14="http://schemas.microsoft.com/office/powerpoint/2010/main" val="3956473579"/>
              </p:ext>
            </p:extLst>
          </p:nvPr>
        </p:nvGraphicFramePr>
        <p:xfrm>
          <a:off x="513709" y="1458930"/>
          <a:ext cx="7170905" cy="3116570"/>
        </p:xfrm>
        <a:graphic>
          <a:graphicData uri="http://schemas.openxmlformats.org/drawingml/2006/table">
            <a:tbl>
              <a:tblPr firstRow="1" bandRow="1">
                <a:tableStyleId>{5C22544A-7EE6-4342-B048-85BDC9FD1C3A}</a:tableStyleId>
              </a:tblPr>
              <a:tblGrid>
                <a:gridCol w="3429228">
                  <a:extLst>
                    <a:ext uri="{9D8B030D-6E8A-4147-A177-3AD203B41FA5}">
                      <a16:colId xmlns:a16="http://schemas.microsoft.com/office/drawing/2014/main" val="4264492287"/>
                    </a:ext>
                  </a:extLst>
                </a:gridCol>
                <a:gridCol w="1199468">
                  <a:extLst>
                    <a:ext uri="{9D8B030D-6E8A-4147-A177-3AD203B41FA5}">
                      <a16:colId xmlns:a16="http://schemas.microsoft.com/office/drawing/2014/main" val="705432711"/>
                    </a:ext>
                  </a:extLst>
                </a:gridCol>
                <a:gridCol w="2542209">
                  <a:extLst>
                    <a:ext uri="{9D8B030D-6E8A-4147-A177-3AD203B41FA5}">
                      <a16:colId xmlns:a16="http://schemas.microsoft.com/office/drawing/2014/main" val="1495894019"/>
                    </a:ext>
                  </a:extLst>
                </a:gridCol>
              </a:tblGrid>
              <a:tr h="556250">
                <a:tc>
                  <a:txBody>
                    <a:bodyPr/>
                    <a:lstStyle/>
                    <a:p>
                      <a:r>
                        <a:rPr lang="en-US"/>
                        <a:t>Business Process</a:t>
                      </a:r>
                    </a:p>
                  </a:txBody>
                  <a:tcPr/>
                </a:tc>
                <a:tc>
                  <a:txBody>
                    <a:bodyPr/>
                    <a:lstStyle/>
                    <a:p>
                      <a:r>
                        <a:rPr lang="en-US"/>
                        <a:t>In Scope?</a:t>
                      </a:r>
                    </a:p>
                  </a:txBody>
                  <a:tcPr/>
                </a:tc>
                <a:tc>
                  <a:txBody>
                    <a:bodyPr/>
                    <a:lstStyle/>
                    <a:p>
                      <a:r>
                        <a:rPr lang="en-US"/>
                        <a:t>Comment</a:t>
                      </a:r>
                    </a:p>
                  </a:txBody>
                  <a:tcPr/>
                </a:tc>
                <a:extLst>
                  <a:ext uri="{0D108BD9-81ED-4DB2-BD59-A6C34878D82A}">
                    <a16:rowId xmlns:a16="http://schemas.microsoft.com/office/drawing/2014/main" val="1487312176"/>
                  </a:ext>
                </a:extLst>
              </a:tr>
              <a:tr h="370840">
                <a:tc>
                  <a:txBody>
                    <a:bodyPr/>
                    <a:lstStyle/>
                    <a:p>
                      <a:r>
                        <a:rPr lang="en-US"/>
                        <a:t>Inbound and outbound payment processing</a:t>
                      </a:r>
                    </a:p>
                  </a:txBody>
                  <a:tcPr/>
                </a:tc>
                <a:tc>
                  <a:txBody>
                    <a:bodyPr/>
                    <a:lstStyle/>
                    <a:p>
                      <a:r>
                        <a:rPr lang="en-US"/>
                        <a:t>No</a:t>
                      </a:r>
                    </a:p>
                  </a:txBody>
                  <a:tcPr/>
                </a:tc>
                <a:tc>
                  <a:txBody>
                    <a:bodyPr/>
                    <a:lstStyle/>
                    <a:p>
                      <a:r>
                        <a:rPr lang="en-US"/>
                        <a:t>Tested in UAT</a:t>
                      </a:r>
                    </a:p>
                  </a:txBody>
                  <a:tcPr/>
                </a:tc>
                <a:extLst>
                  <a:ext uri="{0D108BD9-81ED-4DB2-BD59-A6C34878D82A}">
                    <a16:rowId xmlns:a16="http://schemas.microsoft.com/office/drawing/2014/main" val="1084270548"/>
                  </a:ext>
                </a:extLst>
              </a:tr>
              <a:tr h="370840">
                <a:tc>
                  <a:txBody>
                    <a:bodyPr/>
                    <a:lstStyle/>
                    <a:p>
                      <a:r>
                        <a:rPr lang="en-US"/>
                        <a:t>AR Validation (GL)</a:t>
                      </a:r>
                    </a:p>
                  </a:txBody>
                  <a:tcPr/>
                </a:tc>
                <a:tc>
                  <a:txBody>
                    <a:bodyPr/>
                    <a:lstStyle/>
                    <a:p>
                      <a:r>
                        <a:rPr lang="en-US"/>
                        <a:t>Yes</a:t>
                      </a:r>
                    </a:p>
                  </a:txBody>
                  <a:tcPr/>
                </a:tc>
                <a:tc>
                  <a:txBody>
                    <a:bodyPr/>
                    <a:lstStyle/>
                    <a:p>
                      <a:r>
                        <a:rPr lang="en-US" dirty="0"/>
                        <a:t>FS to confirm financial account posting in BRIM</a:t>
                      </a:r>
                    </a:p>
                  </a:txBody>
                  <a:tcPr/>
                </a:tc>
                <a:extLst>
                  <a:ext uri="{0D108BD9-81ED-4DB2-BD59-A6C34878D82A}">
                    <a16:rowId xmlns:a16="http://schemas.microsoft.com/office/drawing/2014/main" val="2019294296"/>
                  </a:ext>
                </a:extLst>
              </a:tr>
              <a:tr h="370840">
                <a:tc>
                  <a:txBody>
                    <a:bodyPr/>
                    <a:lstStyle/>
                    <a:p>
                      <a:r>
                        <a:rPr lang="en-US"/>
                        <a:t>Reimbursement posting validation (GL)</a:t>
                      </a:r>
                    </a:p>
                  </a:txBody>
                  <a:tcPr/>
                </a:tc>
                <a:tc>
                  <a:txBody>
                    <a:bodyPr/>
                    <a:lstStyle/>
                    <a:p>
                      <a:r>
                        <a:rPr lang="en-US"/>
                        <a:t>Y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S to confirm financial account posting in BRIM</a:t>
                      </a:r>
                    </a:p>
                  </a:txBody>
                  <a:tcPr/>
                </a:tc>
                <a:extLst>
                  <a:ext uri="{0D108BD9-81ED-4DB2-BD59-A6C34878D82A}">
                    <a16:rowId xmlns:a16="http://schemas.microsoft.com/office/drawing/2014/main" val="2527674013"/>
                  </a:ext>
                </a:extLst>
              </a:tr>
              <a:tr h="370840">
                <a:tc>
                  <a:txBody>
                    <a:bodyPr/>
                    <a:lstStyle/>
                    <a:p>
                      <a:r>
                        <a:rPr lang="en-US"/>
                        <a:t>PLUS customer P&amp;L</a:t>
                      </a:r>
                    </a:p>
                  </a:txBody>
                  <a:tcPr/>
                </a:tc>
                <a:tc>
                  <a:txBody>
                    <a:bodyPr/>
                    <a:lstStyle/>
                    <a:p>
                      <a:r>
                        <a:rPr lang="en-US"/>
                        <a:t>Y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nancial data sent to Plus QA </a:t>
                      </a:r>
                    </a:p>
                  </a:txBody>
                  <a:tcPr/>
                </a:tc>
                <a:extLst>
                  <a:ext uri="{0D108BD9-81ED-4DB2-BD59-A6C34878D82A}">
                    <a16:rowId xmlns:a16="http://schemas.microsoft.com/office/drawing/2014/main" val="1214712474"/>
                  </a:ext>
                </a:extLst>
              </a:tr>
            </a:tbl>
          </a:graphicData>
        </a:graphic>
      </p:graphicFrame>
      <p:sp>
        <p:nvSpPr>
          <p:cNvPr id="5" name="TextBox 4">
            <a:extLst>
              <a:ext uri="{FF2B5EF4-FFF2-40B4-BE49-F238E27FC236}">
                <a16:creationId xmlns:a16="http://schemas.microsoft.com/office/drawing/2014/main" id="{E148467A-7282-4913-8086-9B046BF8A752}"/>
              </a:ext>
            </a:extLst>
          </p:cNvPr>
          <p:cNvSpPr txBox="1"/>
          <p:nvPr/>
        </p:nvSpPr>
        <p:spPr>
          <a:xfrm>
            <a:off x="8237401" y="1864086"/>
            <a:ext cx="3762815" cy="2585323"/>
          </a:xfrm>
          <a:prstGeom prst="rect">
            <a:avLst/>
          </a:prstGeom>
          <a:noFill/>
        </p:spPr>
        <p:txBody>
          <a:bodyPr wrap="square" rtlCol="0">
            <a:spAutoFit/>
          </a:bodyPr>
          <a:lstStyle/>
          <a:p>
            <a:pPr>
              <a:spcBef>
                <a:spcPts val="0"/>
              </a:spcBef>
              <a:spcAft>
                <a:spcPts val="0"/>
              </a:spcAft>
            </a:pPr>
            <a:endParaRPr lang="en-US" dirty="0">
              <a:solidFill>
                <a:schemeClr val="dk1"/>
              </a:solidFill>
            </a:endParaRPr>
          </a:p>
          <a:p>
            <a:pPr marL="742950" marR="0" lvl="1" indent="-285750">
              <a:spcBef>
                <a:spcPts val="0"/>
              </a:spcBef>
              <a:spcAft>
                <a:spcPts val="0"/>
              </a:spcAft>
              <a:buFont typeface="Wingdings" panose="05000000000000000000" pitchFamily="2" charset="2"/>
              <a:buChar char="§"/>
            </a:pPr>
            <a:r>
              <a:rPr lang="en-US" b="1" dirty="0">
                <a:solidFill>
                  <a:schemeClr val="dk1"/>
                </a:solidFill>
              </a:rPr>
              <a:t>AR Migration</a:t>
            </a:r>
          </a:p>
          <a:p>
            <a:pPr marL="742950" marR="0" lvl="1" indent="-285750">
              <a:spcBef>
                <a:spcPts val="0"/>
              </a:spcBef>
              <a:spcAft>
                <a:spcPts val="0"/>
              </a:spcAft>
              <a:buFont typeface="Wingdings" panose="05000000000000000000" pitchFamily="2" charset="2"/>
              <a:buChar char="§"/>
            </a:pPr>
            <a:r>
              <a:rPr lang="en-US" b="1" dirty="0">
                <a:solidFill>
                  <a:schemeClr val="dk1"/>
                </a:solidFill>
              </a:rPr>
              <a:t>GL Postings</a:t>
            </a:r>
          </a:p>
          <a:p>
            <a:pPr marL="742950" marR="0" lvl="1" indent="-285750">
              <a:spcBef>
                <a:spcPts val="0"/>
              </a:spcBef>
              <a:spcAft>
                <a:spcPts val="0"/>
              </a:spcAft>
              <a:buFont typeface="Wingdings" panose="05000000000000000000" pitchFamily="2" charset="2"/>
              <a:buChar char="§"/>
            </a:pPr>
            <a:r>
              <a:rPr lang="en-US" b="1" dirty="0">
                <a:solidFill>
                  <a:schemeClr val="dk1"/>
                </a:solidFill>
              </a:rPr>
              <a:t>Open AR generated thru billing</a:t>
            </a:r>
          </a:p>
          <a:p>
            <a:pPr marL="742950" marR="0" lvl="1" indent="-285750">
              <a:spcBef>
                <a:spcPts val="0"/>
              </a:spcBef>
              <a:spcAft>
                <a:spcPts val="0"/>
              </a:spcAft>
              <a:buFont typeface="Wingdings" panose="05000000000000000000" pitchFamily="2" charset="2"/>
              <a:buChar char="§"/>
            </a:pPr>
            <a:r>
              <a:rPr lang="en-US" b="1" dirty="0">
                <a:solidFill>
                  <a:schemeClr val="dk1"/>
                </a:solidFill>
              </a:rPr>
              <a:t>Open AP generated thru reimbursements</a:t>
            </a:r>
          </a:p>
          <a:p>
            <a:pPr marL="742950" marR="0" lvl="1" indent="-285750">
              <a:spcBef>
                <a:spcPts val="0"/>
              </a:spcBef>
              <a:spcAft>
                <a:spcPts val="0"/>
              </a:spcAft>
              <a:buFont typeface="Wingdings" panose="05000000000000000000" pitchFamily="2" charset="2"/>
              <a:buChar char="§"/>
            </a:pPr>
            <a:r>
              <a:rPr lang="en-US" b="1" dirty="0">
                <a:solidFill>
                  <a:schemeClr val="dk1"/>
                </a:solidFill>
              </a:rPr>
              <a:t>Plus data feed</a:t>
            </a:r>
          </a:p>
          <a:p>
            <a:endParaRPr lang="en-US" dirty="0"/>
          </a:p>
        </p:txBody>
      </p:sp>
      <p:sp>
        <p:nvSpPr>
          <p:cNvPr id="6" name="TextBox 5">
            <a:extLst>
              <a:ext uri="{FF2B5EF4-FFF2-40B4-BE49-F238E27FC236}">
                <a16:creationId xmlns:a16="http://schemas.microsoft.com/office/drawing/2014/main" id="{6F145350-7615-453A-8CC0-FC8FF78C8EA0}"/>
              </a:ext>
            </a:extLst>
          </p:cNvPr>
          <p:cNvSpPr txBox="1"/>
          <p:nvPr/>
        </p:nvSpPr>
        <p:spPr>
          <a:xfrm>
            <a:off x="8237402" y="1453034"/>
            <a:ext cx="3440889" cy="769441"/>
          </a:xfrm>
          <a:prstGeom prst="rect">
            <a:avLst/>
          </a:prstGeom>
          <a:noFill/>
        </p:spPr>
        <p:txBody>
          <a:bodyPr wrap="square" rtlCol="0">
            <a:spAutoFit/>
          </a:bodyPr>
          <a:lstStyle/>
          <a:p>
            <a:r>
              <a:rPr lang="en-US" sz="2400" b="1"/>
              <a:t>What are we validating?</a:t>
            </a:r>
            <a:endParaRPr lang="en-US"/>
          </a:p>
          <a:p>
            <a:pPr marL="285750" indent="-285750">
              <a:buFont typeface="Wingdings" panose="05000000000000000000" pitchFamily="2" charset="2"/>
              <a:buChar char="§"/>
            </a:pPr>
            <a:endParaRPr lang="en-US" sz="2000"/>
          </a:p>
        </p:txBody>
      </p:sp>
      <p:sp>
        <p:nvSpPr>
          <p:cNvPr id="7" name="Right Brace 6">
            <a:extLst>
              <a:ext uri="{FF2B5EF4-FFF2-40B4-BE49-F238E27FC236}">
                <a16:creationId xmlns:a16="http://schemas.microsoft.com/office/drawing/2014/main" id="{83D19A12-5183-4E57-80AC-DF6C4D6F92D2}"/>
              </a:ext>
            </a:extLst>
          </p:cNvPr>
          <p:cNvSpPr/>
          <p:nvPr/>
        </p:nvSpPr>
        <p:spPr>
          <a:xfrm>
            <a:off x="7794341" y="2016399"/>
            <a:ext cx="549177" cy="2346281"/>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86104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A2C2694-6C3F-471E-9100-072B2A9269D7}"/>
              </a:ext>
            </a:extLst>
          </p:cNvPr>
          <p:cNvSpPr>
            <a:spLocks noGrp="1"/>
          </p:cNvSpPr>
          <p:nvPr>
            <p:ph type="title"/>
          </p:nvPr>
        </p:nvSpPr>
        <p:spPr>
          <a:xfrm>
            <a:off x="344514" y="289367"/>
            <a:ext cx="11502972" cy="477579"/>
          </a:xfrm>
        </p:spPr>
        <p:txBody>
          <a:bodyPr/>
          <a:lstStyle/>
          <a:p>
            <a:r>
              <a:rPr lang="en-US" dirty="0"/>
              <a:t>UAT 3 in BRIM</a:t>
            </a:r>
          </a:p>
        </p:txBody>
      </p:sp>
      <p:sp>
        <p:nvSpPr>
          <p:cNvPr id="2" name="TextBox 1">
            <a:extLst>
              <a:ext uri="{FF2B5EF4-FFF2-40B4-BE49-F238E27FC236}">
                <a16:creationId xmlns:a16="http://schemas.microsoft.com/office/drawing/2014/main" id="{FB49F2E7-10EF-443E-8D0D-D31FA155CDFB}"/>
              </a:ext>
            </a:extLst>
          </p:cNvPr>
          <p:cNvSpPr txBox="1"/>
          <p:nvPr/>
        </p:nvSpPr>
        <p:spPr>
          <a:xfrm>
            <a:off x="513709" y="843677"/>
            <a:ext cx="10952252" cy="1046440"/>
          </a:xfrm>
          <a:prstGeom prst="rect">
            <a:avLst/>
          </a:prstGeom>
          <a:noFill/>
        </p:spPr>
        <p:txBody>
          <a:bodyPr wrap="square" rtlCol="0">
            <a:spAutoFit/>
          </a:bodyPr>
          <a:lstStyle/>
          <a:p>
            <a:r>
              <a:rPr lang="en-US" sz="2400" b="1"/>
              <a:t>Systems in Scope - Reimbursement</a:t>
            </a:r>
          </a:p>
          <a:p>
            <a:endParaRPr lang="en-US"/>
          </a:p>
          <a:p>
            <a:pPr marL="285750" indent="-285750">
              <a:buFont typeface="Wingdings" panose="05000000000000000000" pitchFamily="2" charset="2"/>
              <a:buChar char="§"/>
            </a:pPr>
            <a:endParaRPr lang="en-US" sz="2000"/>
          </a:p>
        </p:txBody>
      </p:sp>
    </p:spTree>
    <p:extLst>
      <p:ext uri="{BB962C8B-B14F-4D97-AF65-F5344CB8AC3E}">
        <p14:creationId xmlns:p14="http://schemas.microsoft.com/office/powerpoint/2010/main" val="1656382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BB4BE-E060-4752-9437-FDBE869BB7F3}"/>
              </a:ext>
            </a:extLst>
          </p:cNvPr>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314923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809" y="528516"/>
            <a:ext cx="10832410" cy="959790"/>
          </a:xfrm>
        </p:spPr>
        <p:txBody>
          <a:bodyPr>
            <a:normAutofit fontScale="90000"/>
          </a:bodyPr>
          <a:lstStyle/>
          <a:p>
            <a:r>
              <a:rPr lang="en-US" sz="3100">
                <a:solidFill>
                  <a:srgbClr val="FF0000"/>
                </a:solidFill>
                <a:latin typeface="Arial Rounded MT Bold"/>
              </a:rPr>
              <a:t>Billing - External systems setup preparation and execution</a:t>
            </a:r>
            <a:br>
              <a:rPr lang="en-US" sz="3600">
                <a:latin typeface="Arial Rounded MT Bold" panose="020F0704030504030204" pitchFamily="34" charset="0"/>
              </a:rPr>
            </a:br>
            <a:endParaRPr lang="en-US" sz="3600">
              <a:solidFill>
                <a:srgbClr val="FF0000"/>
              </a:solidFill>
              <a:latin typeface="Arial Narrow" panose="020B0606020202030204" pitchFamily="34" charset="0"/>
            </a:endParaRPr>
          </a:p>
        </p:txBody>
      </p:sp>
      <p:sp>
        <p:nvSpPr>
          <p:cNvPr id="88" name="ZoneTexte 27">
            <a:extLst>
              <a:ext uri="{FF2B5EF4-FFF2-40B4-BE49-F238E27FC236}">
                <a16:creationId xmlns:a16="http://schemas.microsoft.com/office/drawing/2014/main" id="{D8F9E93E-21FD-4DBB-B873-51350F2AA214}"/>
              </a:ext>
            </a:extLst>
          </p:cNvPr>
          <p:cNvSpPr txBox="1">
            <a:spLocks noChangeArrowheads="1"/>
          </p:cNvSpPr>
          <p:nvPr/>
        </p:nvSpPr>
        <p:spPr bwMode="auto">
          <a:xfrm>
            <a:off x="6563174" y="4017871"/>
            <a:ext cx="3872740" cy="1725924"/>
          </a:xfrm>
          <a:prstGeom prst="rect">
            <a:avLst/>
          </a:prstGeom>
          <a:noFill/>
          <a:ln w="9525">
            <a:noFill/>
            <a:miter lim="800000"/>
            <a:headEnd/>
            <a:tailEnd/>
          </a:ln>
        </p:spPr>
        <p:txBody>
          <a:bodyPr/>
          <a:lstStyle/>
          <a:p>
            <a:pPr marL="0" lvl="1" defTabSz="844083" fontAlgn="base">
              <a:spcAft>
                <a:spcPts val="300"/>
              </a:spcAft>
              <a:buClr>
                <a:srgbClr val="0070AD"/>
              </a:buClr>
              <a:buSzPct val="100000"/>
              <a:defRPr/>
            </a:pPr>
            <a:endParaRPr lang="en-US" sz="1100">
              <a:solidFill>
                <a:prstClr val="black"/>
              </a:solidFill>
              <a:latin typeface="Verdana" panose="020B0604030504040204" pitchFamily="34" charset="0"/>
              <a:cs typeface="Arial" panose="020B0604020202020204" pitchFamily="34" charset="0"/>
            </a:endParaRPr>
          </a:p>
        </p:txBody>
      </p:sp>
      <p:sp>
        <p:nvSpPr>
          <p:cNvPr id="8" name="Rectangle 3">
            <a:extLst>
              <a:ext uri="{FF2B5EF4-FFF2-40B4-BE49-F238E27FC236}">
                <a16:creationId xmlns:a16="http://schemas.microsoft.com/office/drawing/2014/main" id="{40103D53-5394-4788-AD58-C22E7DFA8DD3}"/>
              </a:ext>
            </a:extLst>
          </p:cNvPr>
          <p:cNvSpPr>
            <a:spLocks noChangeArrowheads="1"/>
          </p:cNvSpPr>
          <p:nvPr/>
        </p:nvSpPr>
        <p:spPr bwMode="auto">
          <a:xfrm>
            <a:off x="197374" y="126376"/>
            <a:ext cx="12202112" cy="1984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a16="http://schemas.microsoft.com/office/drawing/2014/main" id="{EFABF3EB-E278-40F7-B3E8-1F6C51B3282C}"/>
              </a:ext>
            </a:extLst>
          </p:cNvPr>
          <p:cNvSpPr txBox="1"/>
          <p:nvPr/>
        </p:nvSpPr>
        <p:spPr>
          <a:xfrm>
            <a:off x="532448" y="1062947"/>
            <a:ext cx="11388425" cy="6186309"/>
          </a:xfrm>
          <a:prstGeom prst="rect">
            <a:avLst/>
          </a:prstGeom>
          <a:noFill/>
        </p:spPr>
        <p:txBody>
          <a:bodyPr wrap="square" lIns="91440" tIns="45720" rIns="91440" bIns="45720" rtlCol="0" anchor="t">
            <a:spAutoFit/>
          </a:bodyPr>
          <a:lstStyle/>
          <a:p>
            <a:r>
              <a:rPr lang="en-US" b="1" u="sng"/>
              <a:t>JDE Inbound to BRIM (Equipment Lease, Program Fee, Sale Billing )</a:t>
            </a:r>
          </a:p>
          <a:p>
            <a:pPr marL="285750" indent="-285750">
              <a:buFont typeface="Wingdings" panose="05000000000000000000" pitchFamily="2" charset="2"/>
              <a:buChar char="§"/>
            </a:pPr>
            <a:r>
              <a:rPr lang="en-US">
                <a:cs typeface="Calibri"/>
              </a:rPr>
              <a:t>JDE Triggers </a:t>
            </a:r>
            <a:r>
              <a:rPr lang="en-US" b="1">
                <a:cs typeface="Calibri"/>
              </a:rPr>
              <a:t>Material Master Data</a:t>
            </a:r>
            <a:r>
              <a:rPr lang="en-US">
                <a:cs typeface="Calibri"/>
              </a:rPr>
              <a:t> (Place the feed file on Azure BLOB for CM input)</a:t>
            </a:r>
            <a:endParaRPr lang="en-US"/>
          </a:p>
          <a:p>
            <a:pPr marL="285750" indent="-285750">
              <a:buFont typeface="Wingdings" panose="05000000000000000000" pitchFamily="2" charset="2"/>
              <a:buChar char="§"/>
            </a:pPr>
            <a:r>
              <a:rPr lang="en-US" b="1"/>
              <a:t>Equipment Lease/Program Fee</a:t>
            </a:r>
            <a:r>
              <a:rPr lang="en-US"/>
              <a:t>, </a:t>
            </a:r>
            <a:r>
              <a:rPr lang="en-US" b="1"/>
              <a:t>Equipment Sale</a:t>
            </a:r>
            <a:r>
              <a:rPr lang="en-US"/>
              <a:t> jobs will be executed (daily or on need basis) in Production</a:t>
            </a:r>
            <a:endParaRPr lang="en-US">
              <a:cs typeface="Calibri"/>
            </a:endParaRPr>
          </a:p>
          <a:p>
            <a:pPr marL="285750" indent="-285750">
              <a:buFont typeface="Wingdings" panose="05000000000000000000" pitchFamily="2" charset="2"/>
              <a:buChar char="§"/>
            </a:pPr>
            <a:r>
              <a:rPr lang="en-US">
                <a:cs typeface="Calibri"/>
              </a:rPr>
              <a:t>JDE IT will place the generated feed files on Azure BLOB for CM input</a:t>
            </a:r>
          </a:p>
          <a:p>
            <a:pPr marL="285750" indent="-285750">
              <a:buFont typeface="Wingdings" panose="05000000000000000000" pitchFamily="2" charset="2"/>
              <a:buChar char="§"/>
            </a:pPr>
            <a:r>
              <a:rPr lang="en-US">
                <a:cs typeface="Calibri"/>
              </a:rPr>
              <a:t>JDE Equipment Sales Back feed is Out of Scope (no updates will be processed from BRIM to JDE Production)</a:t>
            </a:r>
            <a:endParaRPr lang="en-US"/>
          </a:p>
          <a:p>
            <a:pPr marL="285750" indent="-285750">
              <a:buFont typeface="Wingdings" panose="05000000000000000000" pitchFamily="2" charset="2"/>
              <a:buChar char="§"/>
            </a:pPr>
            <a:r>
              <a:rPr lang="en-US"/>
              <a:t>Business to validate the Lease Invoice generated with MF Lease Invoice (FLB)</a:t>
            </a:r>
            <a:endParaRPr lang="en-US">
              <a:cs typeface="Calibri"/>
            </a:endParaRPr>
          </a:p>
          <a:p>
            <a:pPr marL="285750" indent="-285750">
              <a:buFont typeface="Wingdings" panose="05000000000000000000" pitchFamily="2" charset="2"/>
              <a:buChar char="§"/>
            </a:pPr>
            <a:r>
              <a:rPr lang="en-US"/>
              <a:t>Business to validate Sale Invoice with MF Sale Invoice (USA Billing)</a:t>
            </a:r>
            <a:endParaRPr lang="en-US">
              <a:cs typeface="Calibri"/>
            </a:endParaRPr>
          </a:p>
          <a:p>
            <a:pPr marL="285750" indent="-285750">
              <a:buFont typeface="Wingdings" panose="05000000000000000000" pitchFamily="2" charset="2"/>
              <a:buChar char="§"/>
            </a:pPr>
            <a:r>
              <a:rPr lang="en-US">
                <a:cs typeface="Calibri"/>
              </a:rPr>
              <a:t>JDE &amp; MF IT provide the required screenshots of data from Production files for validation/reconciliation</a:t>
            </a:r>
          </a:p>
          <a:p>
            <a:r>
              <a:rPr lang="en-US" b="1">
                <a:solidFill>
                  <a:srgbClr val="FF0000"/>
                </a:solidFill>
                <a:cs typeface="Calibri"/>
              </a:rPr>
              <a:t>Note: </a:t>
            </a:r>
            <a:r>
              <a:rPr lang="en-US">
                <a:solidFill>
                  <a:srgbClr val="FF0000"/>
                </a:solidFill>
                <a:cs typeface="Calibri"/>
              </a:rPr>
              <a:t>Equipment Lease and Program Fee invoice comparison between FLB, P08 and BRIM. Manual comparison using USA billing, P08, FLB reports in excel. Use PBI BRIM reports for billing. Equipment sales will have no comparison.</a:t>
            </a:r>
          </a:p>
          <a:p>
            <a:endParaRPr lang="en-US"/>
          </a:p>
          <a:p>
            <a:r>
              <a:rPr lang="en-US" b="1" u="sng"/>
              <a:t>Thirsty Inbound to BRIM (Service Billing)</a:t>
            </a:r>
            <a:endParaRPr lang="en-US" b="1" u="sng">
              <a:cs typeface="Calibri"/>
            </a:endParaRPr>
          </a:p>
          <a:p>
            <a:pPr marL="285750" indent="-285750">
              <a:buFont typeface="Wingdings" panose="05000000000000000000" pitchFamily="2" charset="2"/>
              <a:buChar char="§"/>
            </a:pPr>
            <a:r>
              <a:rPr lang="en-US"/>
              <a:t>'thirsty' parallel processing full copy sandbox refreshed with Production data will be available by 1st week of Jan 2023</a:t>
            </a:r>
            <a:endParaRPr lang="en-US">
              <a:cs typeface="Calibri"/>
            </a:endParaRPr>
          </a:p>
          <a:p>
            <a:pPr marL="285750" indent="-285750">
              <a:buFont typeface="Wingdings" panose="05000000000000000000" pitchFamily="2" charset="2"/>
              <a:buChar char="§"/>
            </a:pPr>
            <a:r>
              <a:rPr lang="en-US">
                <a:cs typeface="Calibri"/>
              </a:rPr>
              <a:t>CM pulls the WO information for </a:t>
            </a:r>
            <a:r>
              <a:rPr lang="en-US" b="1">
                <a:cs typeface="Calibri"/>
              </a:rPr>
              <a:t>Service Billing, Parts Billing</a:t>
            </a:r>
            <a:endParaRPr lang="en-US" b="1"/>
          </a:p>
          <a:p>
            <a:pPr marL="285750" indent="-285750">
              <a:buFont typeface="Wingdings" panose="05000000000000000000" pitchFamily="2" charset="2"/>
              <a:buChar char="§"/>
            </a:pPr>
            <a:r>
              <a:rPr lang="en-US">
                <a:cs typeface="Calibri"/>
              </a:rPr>
              <a:t>CM updates the WO information back to 'thirsty'</a:t>
            </a:r>
            <a:endParaRPr lang="en-US"/>
          </a:p>
          <a:p>
            <a:pPr marL="285750" indent="-285750">
              <a:buFont typeface="Wingdings" panose="05000000000000000000" pitchFamily="2" charset="2"/>
              <a:buChar char="§"/>
            </a:pPr>
            <a:r>
              <a:rPr lang="en-US">
                <a:cs typeface="Calibri"/>
              </a:rPr>
              <a:t>No integrations/connections will be established (PP sandbox will be a standalone application) with exception of CM</a:t>
            </a:r>
            <a:endParaRPr lang="en-US"/>
          </a:p>
          <a:p>
            <a:pPr marL="285750" indent="-285750">
              <a:buFont typeface="Wingdings" panose="05000000000000000000" pitchFamily="2" charset="2"/>
              <a:buChar char="§"/>
            </a:pPr>
            <a:r>
              <a:rPr lang="en-US"/>
              <a:t>Business can access, review the data</a:t>
            </a:r>
            <a:endParaRPr lang="en-US">
              <a:cs typeface="Calibri"/>
            </a:endParaRPr>
          </a:p>
          <a:p>
            <a:pPr marL="285750" indent="-285750">
              <a:buFont typeface="Wingdings" panose="05000000000000000000" pitchFamily="2" charset="2"/>
              <a:buChar char="§"/>
            </a:pPr>
            <a:r>
              <a:rPr lang="en-US"/>
              <a:t>'thirsty' IT can provide screenshots of data from Production file for validation/reconciliation</a:t>
            </a:r>
            <a:endParaRPr lang="en-US">
              <a:cs typeface="Calibri"/>
            </a:endParaRPr>
          </a:p>
          <a:p>
            <a:r>
              <a:rPr lang="en-US" b="1">
                <a:solidFill>
                  <a:srgbClr val="FF0000"/>
                </a:solidFill>
                <a:cs typeface="Calibri"/>
              </a:rPr>
              <a:t>Note: </a:t>
            </a:r>
            <a:r>
              <a:rPr lang="en-US">
                <a:solidFill>
                  <a:srgbClr val="FF0000"/>
                </a:solidFill>
                <a:cs typeface="Calibri"/>
              </a:rPr>
              <a:t>Service billing invoice comparison between Thirsty and BRIM. Manual comparison. Will use PBI BRIM reports for billing.  </a:t>
            </a:r>
          </a:p>
          <a:p>
            <a:pPr marL="285750" indent="-285750">
              <a:buFont typeface="Wingdings" panose="05000000000000000000" pitchFamily="2" charset="2"/>
              <a:buChar char="§"/>
            </a:pPr>
            <a:endParaRPr lang="en-US">
              <a:cs typeface="Calibri"/>
            </a:endParaRPr>
          </a:p>
          <a:p>
            <a:endParaRPr lang="en-US"/>
          </a:p>
        </p:txBody>
      </p:sp>
    </p:spTree>
    <p:extLst>
      <p:ext uri="{BB962C8B-B14F-4D97-AF65-F5344CB8AC3E}">
        <p14:creationId xmlns:p14="http://schemas.microsoft.com/office/powerpoint/2010/main" val="233528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0_TCCC Template - Compressed">
  <a:themeElements>
    <a:clrScheme name="TCCC Template - Compressed">
      <a:dk1>
        <a:sysClr val="windowText" lastClr="000000"/>
      </a:dk1>
      <a:lt1>
        <a:srgbClr val="FFFFFF"/>
      </a:lt1>
      <a:dk2>
        <a:srgbClr val="B2B2B2"/>
      </a:dk2>
      <a:lt2>
        <a:srgbClr val="777777"/>
      </a:lt2>
      <a:accent1>
        <a:srgbClr val="FFD9D9"/>
      </a:accent1>
      <a:accent2>
        <a:srgbClr val="F40009"/>
      </a:accent2>
      <a:accent3>
        <a:srgbClr val="CC0000"/>
      </a:accent3>
      <a:accent4>
        <a:srgbClr val="F68A33"/>
      </a:accent4>
      <a:accent5>
        <a:srgbClr val="A9038E"/>
      </a:accent5>
      <a:accent6>
        <a:srgbClr val="9AD8DA"/>
      </a:accent6>
      <a:hlink>
        <a:srgbClr val="000000"/>
      </a:hlink>
      <a:folHlink>
        <a:srgbClr val="CC0000"/>
      </a:folHlink>
    </a:clrScheme>
    <a:fontScheme name="TCCC Template - Compressed">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extrusionClr>
              <a:prstClr val="black"/>
            </a:extrusionClr>
            <a:contourClr>
              <a:prstClr val="black"/>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tx2"/>
        </a:solidFill>
        <a:ln w="19050">
          <a:noFill/>
        </a:ln>
      </a:spPr>
      <a:bodyPr lIns="36000" tIns="36000" rIns="36000" bIns="36000" rtlCol="0" anchor="ctr"/>
      <a:lstStyle>
        <a:defPPr algn="ctr">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800" dirty="0" err="1" smtClean="0"/>
        </a:defPPr>
      </a:lstStyle>
    </a:txDef>
  </a:objectDefaults>
  <a:extraClrSchemeLst/>
  <a:custClrLst>
    <a:custClr name="Coke Red">
      <a:srgbClr val="F40009"/>
    </a:custClr>
    <a:custClr name="Aqua">
      <a:srgbClr val="9AD8DA"/>
    </a:custClr>
  </a:custClrLst>
  <a:extLst>
    <a:ext uri="{05A4C25C-085E-4340-85A3-A5531E510DB2}">
      <thm15:themeFamily xmlns:thm15="http://schemas.microsoft.com/office/thememl/2012/main" name="Presentation2" id="{0FC204CB-1DCE-1A44-895A-445DD5427B64}" vid="{39468C27-1705-2946-A06E-AB758570414A}"/>
    </a:ext>
  </a:extLst>
</a:theme>
</file>

<file path=ppt/theme/theme2.xml><?xml version="1.0" encoding="utf-8"?>
<a:theme xmlns:a="http://schemas.openxmlformats.org/drawingml/2006/main" name="1_Office Theme">
  <a:themeElements>
    <a:clrScheme name="TCCC Palette">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CCC_Primary_PowerPoint_Template_01" id="{FD7995F0-8EA7-2E4E-B6B1-58FD95243A8F}" vid="{871163A3-8AB2-6849-AE67-B3516D74A4E7}"/>
    </a:ext>
  </a:extLst>
</a:theme>
</file>

<file path=ppt/theme/theme3.xml><?xml version="1.0" encoding="utf-8"?>
<a:theme xmlns:a="http://schemas.openxmlformats.org/drawingml/2006/main" name="10_TCCC Template - Compressed">
  <a:themeElements>
    <a:clrScheme name="TCCC Template - Compressed">
      <a:dk1>
        <a:sysClr val="windowText" lastClr="000000"/>
      </a:dk1>
      <a:lt1>
        <a:srgbClr val="FFFFFF"/>
      </a:lt1>
      <a:dk2>
        <a:srgbClr val="B2B2B2"/>
      </a:dk2>
      <a:lt2>
        <a:srgbClr val="777777"/>
      </a:lt2>
      <a:accent1>
        <a:srgbClr val="FFD9D9"/>
      </a:accent1>
      <a:accent2>
        <a:srgbClr val="F40009"/>
      </a:accent2>
      <a:accent3>
        <a:srgbClr val="CC0000"/>
      </a:accent3>
      <a:accent4>
        <a:srgbClr val="F68A33"/>
      </a:accent4>
      <a:accent5>
        <a:srgbClr val="A9038E"/>
      </a:accent5>
      <a:accent6>
        <a:srgbClr val="9AD8DA"/>
      </a:accent6>
      <a:hlink>
        <a:srgbClr val="000000"/>
      </a:hlink>
      <a:folHlink>
        <a:srgbClr val="CC0000"/>
      </a:folHlink>
    </a:clrScheme>
    <a:fontScheme name="TCCC Template - Compressed">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extrusionClr>
              <a:prstClr val="black"/>
            </a:extrusionClr>
            <a:contourClr>
              <a:prstClr val="black"/>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tx2"/>
        </a:solidFill>
        <a:ln w="19050">
          <a:noFill/>
        </a:ln>
      </a:spPr>
      <a:bodyPr lIns="36000" tIns="36000" rIns="36000" bIns="36000" rtlCol="0" anchor="ctr"/>
      <a:lstStyle>
        <a:defPPr algn="ctr">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800" dirty="0" err="1" smtClean="0"/>
        </a:defPPr>
      </a:lstStyle>
    </a:txDef>
  </a:objectDefaults>
  <a:extraClrSchemeLst/>
  <a:custClrLst>
    <a:custClr name="Coke Red">
      <a:srgbClr val="F40009"/>
    </a:custClr>
    <a:custClr name="Aqua">
      <a:srgbClr val="9AD8DA"/>
    </a:custClr>
  </a:custClrLst>
  <a:extLst>
    <a:ext uri="{05A4C25C-085E-4340-85A3-A5531E510DB2}">
      <thm15:themeFamily xmlns:thm15="http://schemas.microsoft.com/office/thememl/2012/main" name="Presentation2" id="{0FC204CB-1DCE-1A44-895A-445DD5427B64}" vid="{39468C27-1705-2946-A06E-AB75857041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FA05D05159FA349BF8BB19D7EBB7248" ma:contentTypeVersion="19" ma:contentTypeDescription="Create a new document." ma:contentTypeScope="" ma:versionID="bcebdfd76292ebacd9e0a27ee03e5e23">
  <xsd:schema xmlns:xsd="http://www.w3.org/2001/XMLSchema" xmlns:xs="http://www.w3.org/2001/XMLSchema" xmlns:p="http://schemas.microsoft.com/office/2006/metadata/properties" xmlns:ns2="9f0c63d9-b7f2-4f32-b1b8-0938e4fcd901" xmlns:ns3="147eba64-2d13-48bd-9ef2-e86f635d5eda" targetNamespace="http://schemas.microsoft.com/office/2006/metadata/properties" ma:root="true" ma:fieldsID="9dd4898e750f7b8fba636870c553f9ab" ns2:_="" ns3:_="">
    <xsd:import namespace="9f0c63d9-b7f2-4f32-b1b8-0938e4fcd901"/>
    <xsd:import namespace="147eba64-2d13-48bd-9ef2-e86f635d5ed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Comment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0c63d9-b7f2-4f32-b1b8-0938e4fcd9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Comments" ma:index="24" nillable="true" ma:displayName="Comments" ma:format="Dropdown" ma:internalName="Comments">
      <xsd:simpleType>
        <xsd:restriction base="dms:Text">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7eba64-2d13-48bd-9ef2-e86f635d5ed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a75a463f-d9d3-4e0d-8a8f-d69702979a49}" ma:internalName="TaxCatchAll" ma:showField="CatchAllData" ma:web="147eba64-2d13-48bd-9ef2-e86f635d5ed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f0c63d9-b7f2-4f32-b1b8-0938e4fcd901">
      <Terms xmlns="http://schemas.microsoft.com/office/infopath/2007/PartnerControls"/>
    </lcf76f155ced4ddcb4097134ff3c332f>
    <TaxCatchAll xmlns="147eba64-2d13-48bd-9ef2-e86f635d5eda" xsi:nil="true"/>
    <Comments xmlns="9f0c63d9-b7f2-4f32-b1b8-0938e4fcd901" xsi:nil="true"/>
  </documentManagement>
</p:properties>
</file>

<file path=customXml/itemProps1.xml><?xml version="1.0" encoding="utf-8"?>
<ds:datastoreItem xmlns:ds="http://schemas.openxmlformats.org/officeDocument/2006/customXml" ds:itemID="{6562F1CC-4F88-4061-8D6B-3A83A03E953D}">
  <ds:schemaRefs>
    <ds:schemaRef ds:uri="http://schemas.microsoft.com/sharepoint/v3/contenttype/forms"/>
  </ds:schemaRefs>
</ds:datastoreItem>
</file>

<file path=customXml/itemProps2.xml><?xml version="1.0" encoding="utf-8"?>
<ds:datastoreItem xmlns:ds="http://schemas.openxmlformats.org/officeDocument/2006/customXml" ds:itemID="{2A955F40-91B6-4162-B736-8575998B532F}"/>
</file>

<file path=customXml/itemProps3.xml><?xml version="1.0" encoding="utf-8"?>
<ds:datastoreItem xmlns:ds="http://schemas.openxmlformats.org/officeDocument/2006/customXml" ds:itemID="{522359C5-66AD-480E-84D3-07ADE063306C}">
  <ds:schemaRefs>
    <ds:schemaRef ds:uri="http://schemas.microsoft.com/office/infopath/2007/PartnerControls"/>
    <ds:schemaRef ds:uri="http://purl.org/dc/dcmitype/"/>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147eba64-2d13-48bd-9ef2-e86f635d5eda"/>
    <ds:schemaRef ds:uri="9f0c63d9-b7f2-4f32-b1b8-0938e4fcd901"/>
    <ds:schemaRef ds:uri="http://www.w3.org/XML/1998/namespace"/>
  </ds:schemaRefs>
</ds:datastoreItem>
</file>

<file path=docMetadata/LabelInfo.xml><?xml version="1.0" encoding="utf-8"?>
<clbl:labelList xmlns:clbl="http://schemas.microsoft.com/office/2020/mipLabelMetadata">
  <clbl:label id="{0702bf62-88e6-456d-b298-e2abb13de1ea}" enabled="1" method="Standard" siteId="{548d26ab-8caa-49e1-97c2-a1b1a06cc39c}" removed="0"/>
</clbl:labelList>
</file>

<file path=docProps/app.xml><?xml version="1.0" encoding="utf-8"?>
<Properties xmlns="http://schemas.openxmlformats.org/officeDocument/2006/extended-properties" xmlns:vt="http://schemas.openxmlformats.org/officeDocument/2006/docPropsVTypes">
  <TotalTime>42</TotalTime>
  <Words>2183</Words>
  <Application>Microsoft Office PowerPoint</Application>
  <PresentationFormat>Widescreen</PresentationFormat>
  <Paragraphs>280</Paragraphs>
  <Slides>17</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2" baseType="lpstr">
      <vt:lpstr>Arial</vt:lpstr>
      <vt:lpstr>Arial Narrow</vt:lpstr>
      <vt:lpstr>Arial Rounded MT Bold</vt:lpstr>
      <vt:lpstr>Calibri</vt:lpstr>
      <vt:lpstr>Courier New</vt:lpstr>
      <vt:lpstr>Georgia</vt:lpstr>
      <vt:lpstr>TCCC-UnityHeadline</vt:lpstr>
      <vt:lpstr>TCCC-UnityText</vt:lpstr>
      <vt:lpstr>Verdana</vt:lpstr>
      <vt:lpstr>Wingdings</vt:lpstr>
      <vt:lpstr>Wingdings,Sans-Serif</vt:lpstr>
      <vt:lpstr>10_TCCC Template - Compressed</vt:lpstr>
      <vt:lpstr>1_Office Theme</vt:lpstr>
      <vt:lpstr>10_TCCC Template - Compressed</vt:lpstr>
      <vt:lpstr>think-cell Slide</vt:lpstr>
      <vt:lpstr>Project Wilbur – UAT 3  Processes, Systems </vt:lpstr>
      <vt:lpstr>UAT 3</vt:lpstr>
      <vt:lpstr>UAT 3 in BRIM</vt:lpstr>
      <vt:lpstr>UAT 3 BRIM</vt:lpstr>
      <vt:lpstr>UAT 3 BRIM</vt:lpstr>
      <vt:lpstr>UAT 3 in BRIM</vt:lpstr>
      <vt:lpstr>UAT 3 in BRIM</vt:lpstr>
      <vt:lpstr>Appendix</vt:lpstr>
      <vt:lpstr>Billing - External systems setup preparation and execution </vt:lpstr>
      <vt:lpstr>Billing - External systems setup preparation and execution </vt:lpstr>
      <vt:lpstr>Billing - External systems setup preparation and execution </vt:lpstr>
      <vt:lpstr>Reimbursement - External systems setup preparation and execution </vt:lpstr>
      <vt:lpstr>Reimbursement - External systems setup preparation and execution </vt:lpstr>
      <vt:lpstr>Reimbursement - External systems setup preparation and execution </vt:lpstr>
      <vt:lpstr>BRIM Disaster Recovery Plan </vt:lpstr>
      <vt:lpstr>Limitations</vt:lpstr>
      <vt:lpstr>P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 Guebert</dc:creator>
  <cp:lastModifiedBy>Pitkin, Jeff</cp:lastModifiedBy>
  <cp:revision>2</cp:revision>
  <dcterms:created xsi:type="dcterms:W3CDTF">2020-04-02T20:39:03Z</dcterms:created>
  <dcterms:modified xsi:type="dcterms:W3CDTF">2023-04-17T19:2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02bf62-88e6-456d-b298-e2abb13de1ea_Enabled">
    <vt:lpwstr>True</vt:lpwstr>
  </property>
  <property fmtid="{D5CDD505-2E9C-101B-9397-08002B2CF9AE}" pid="3" name="MSIP_Label_0702bf62-88e6-456d-b298-e2abb13de1ea_SiteId">
    <vt:lpwstr>548d26ab-8caa-49e1-97c2-a1b1a06cc39c</vt:lpwstr>
  </property>
  <property fmtid="{D5CDD505-2E9C-101B-9397-08002B2CF9AE}" pid="4" name="MSIP_Label_0702bf62-88e6-456d-b298-e2abb13de1ea_Owner">
    <vt:lpwstr>sguebert@coca-cola.com</vt:lpwstr>
  </property>
  <property fmtid="{D5CDD505-2E9C-101B-9397-08002B2CF9AE}" pid="5" name="MSIP_Label_0702bf62-88e6-456d-b298-e2abb13de1ea_SetDate">
    <vt:lpwstr>2020-04-03T12:11:53.0738606Z</vt:lpwstr>
  </property>
  <property fmtid="{D5CDD505-2E9C-101B-9397-08002B2CF9AE}" pid="6" name="MSIP_Label_0702bf62-88e6-456d-b298-e2abb13de1ea_Name">
    <vt:lpwstr>Confidential (not protected)</vt:lpwstr>
  </property>
  <property fmtid="{D5CDD505-2E9C-101B-9397-08002B2CF9AE}" pid="7" name="MSIP_Label_0702bf62-88e6-456d-b298-e2abb13de1ea_Application">
    <vt:lpwstr>Microsoft Azure Information Protection</vt:lpwstr>
  </property>
  <property fmtid="{D5CDD505-2E9C-101B-9397-08002B2CF9AE}" pid="8" name="MSIP_Label_0702bf62-88e6-456d-b298-e2abb13de1ea_ActionId">
    <vt:lpwstr>c4a5ad8d-cc25-45f9-b284-93b597034703</vt:lpwstr>
  </property>
  <property fmtid="{D5CDD505-2E9C-101B-9397-08002B2CF9AE}" pid="9" name="MSIP_Label_0702bf62-88e6-456d-b298-e2abb13de1ea_Extended_MSFT_Method">
    <vt:lpwstr>Automatic</vt:lpwstr>
  </property>
  <property fmtid="{D5CDD505-2E9C-101B-9397-08002B2CF9AE}" pid="10" name="Sensitivity">
    <vt:lpwstr>Confidential (not protected)</vt:lpwstr>
  </property>
  <property fmtid="{D5CDD505-2E9C-101B-9397-08002B2CF9AE}" pid="11" name="ContentTypeId">
    <vt:lpwstr>0x0101002FA05D05159FA349BF8BB19D7EBB7248</vt:lpwstr>
  </property>
  <property fmtid="{D5CDD505-2E9C-101B-9397-08002B2CF9AE}" pid="12" name="MediaServiceImageTags">
    <vt:lpwstr/>
  </property>
</Properties>
</file>